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9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0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1.xml" ContentType="application/vnd.openxmlformats-officedocument.theme+xml"/>
  <Override PartName="/ppt/tags/tag3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2.xml" ContentType="application/vnd.openxmlformats-officedocument.theme+xml"/>
  <Override PartName="/ppt/tags/tag4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711" r:id="rId6"/>
    <p:sldMasterId id="2147483726" r:id="rId7"/>
    <p:sldMasterId id="2147483731" r:id="rId8"/>
    <p:sldMasterId id="2147483762" r:id="rId9"/>
    <p:sldMasterId id="2147483768" r:id="rId10"/>
    <p:sldMasterId id="2147483789" r:id="rId11"/>
    <p:sldMasterId id="2147483834" r:id="rId12"/>
    <p:sldMasterId id="2147483877" r:id="rId13"/>
    <p:sldMasterId id="2147483902" r:id="rId14"/>
    <p:sldMasterId id="2147483932" r:id="rId15"/>
    <p:sldMasterId id="2147483941" r:id="rId16"/>
  </p:sldMasterIdLst>
  <p:notesMasterIdLst>
    <p:notesMasterId r:id="rId29"/>
  </p:notesMasterIdLst>
  <p:handoutMasterIdLst>
    <p:handoutMasterId r:id="rId30"/>
  </p:handoutMasterIdLst>
  <p:sldIdLst>
    <p:sldId id="5431" r:id="rId17"/>
    <p:sldId id="5457" r:id="rId18"/>
    <p:sldId id="293" r:id="rId19"/>
    <p:sldId id="5458" r:id="rId20"/>
    <p:sldId id="5459" r:id="rId21"/>
    <p:sldId id="5454" r:id="rId22"/>
    <p:sldId id="5455" r:id="rId23"/>
    <p:sldId id="1760234343" r:id="rId24"/>
    <p:sldId id="5461" r:id="rId25"/>
    <p:sldId id="1760234295" r:id="rId26"/>
    <p:sldId id="1760234342" r:id="rId27"/>
    <p:sldId id="1374" r:id="rId28"/>
  </p:sldIdLst>
  <p:sldSz cx="12192000" cy="6858000"/>
  <p:notesSz cx="7004050" cy="929005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arce, M" initials="PM" lastIdx="6" clrIdx="0">
    <p:extLst>
      <p:ext uri="{19B8F6BF-5375-455C-9EA6-DF929625EA0E}">
        <p15:presenceInfo xmlns:p15="http://schemas.microsoft.com/office/powerpoint/2012/main" userId="S::M_Pearce@Dell.com::ba322951-aae2-41f2-8a3c-1524af480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CC"/>
    <a:srgbClr val="257066"/>
    <a:srgbClr val="006666"/>
    <a:srgbClr val="9CD8CD"/>
    <a:srgbClr val="FF7C80"/>
    <a:srgbClr val="002060"/>
    <a:srgbClr val="00339A"/>
    <a:srgbClr val="0066CC"/>
    <a:srgbClr val="3399FF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52" autoAdjust="0"/>
    <p:restoredTop sz="87661" autoAdjust="0"/>
  </p:normalViewPr>
  <p:slideViewPr>
    <p:cSldViewPr snapToGrid="0">
      <p:cViewPr>
        <p:scale>
          <a:sx n="100" d="100"/>
          <a:sy n="100" d="100"/>
        </p:scale>
        <p:origin x="60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216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7341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>
              <a:defRPr sz="1200"/>
            </a:lvl1pPr>
          </a:lstStyle>
          <a:p>
            <a:fld id="{23E4E528-31CB-488F-835E-90DACC4D34A9}" type="datetimeFigureOut">
              <a:rPr lang="en-US" smtClean="0"/>
              <a:t>4/2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7341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>
              <a:defRPr sz="1200"/>
            </a:lvl1pPr>
          </a:lstStyle>
          <a:p>
            <a:fld id="{EA9144C2-2E03-4536-8540-6FD754F536E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0" y="8815226"/>
            <a:ext cx="7004050" cy="508125"/>
          </a:xfrm>
          <a:prstGeom prst="rect">
            <a:avLst/>
          </a:prstGeom>
          <a:noFill/>
        </p:spPr>
        <p:txBody>
          <a:bodyPr vert="horz" lIns="93104" tIns="46552" rIns="93104" bIns="46552" rtlCol="0">
            <a:spAutoFit/>
          </a:bodyPr>
          <a:lstStyle/>
          <a:p>
            <a:r>
              <a:rPr lang="en-US" sz="900" b="1">
                <a:solidFill>
                  <a:srgbClr val="7F7F7F"/>
                </a:solidFill>
                <a:latin typeface="museo sans for dell" panose="02000000000000000000"/>
              </a:rPr>
              <a:t>                              Dell - Internal Use - Confidential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4734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6116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>
              <a:defRPr sz="1200"/>
            </a:lvl1pPr>
          </a:lstStyle>
          <a:p>
            <a:fld id="{BD687FD9-F2FA-49A6-870D-CA8802435907}" type="datetimeFigureOut">
              <a:rPr lang="en-US" smtClean="0"/>
              <a:t>4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0463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4" tIns="46552" rIns="93104" bIns="4655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405" y="4470837"/>
            <a:ext cx="5603240" cy="3657957"/>
          </a:xfrm>
          <a:prstGeom prst="rect">
            <a:avLst/>
          </a:prstGeom>
        </p:spPr>
        <p:txBody>
          <a:bodyPr vert="horz" lIns="93104" tIns="46552" rIns="93104" bIns="4655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341" y="8823936"/>
            <a:ext cx="3035088" cy="466115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>
              <a:defRPr sz="1200"/>
            </a:lvl1pPr>
          </a:lstStyle>
          <a:p>
            <a:fld id="{8D15203D-E8CE-489E-B3D6-E4218CED44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0" y="8815226"/>
            <a:ext cx="7004050" cy="508125"/>
          </a:xfrm>
          <a:prstGeom prst="rect">
            <a:avLst/>
          </a:prstGeom>
          <a:noFill/>
        </p:spPr>
        <p:txBody>
          <a:bodyPr vert="horz" lIns="93104" tIns="46552" rIns="93104" bIns="46552" rtlCol="0">
            <a:spAutoFit/>
          </a:bodyPr>
          <a:lstStyle/>
          <a:p>
            <a:pPr algn="l"/>
            <a:r>
              <a:rPr lang="en-US" sz="900" b="1" i="0" u="none" baseline="0">
                <a:solidFill>
                  <a:srgbClr val="7F7F7F"/>
                </a:solidFill>
                <a:latin typeface="museo sans for dell" panose="02000000000000000000"/>
              </a:rPr>
              <a:t>                              Dell - Internal Use - Confidential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488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030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957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73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5.jpe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5.jpe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6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image" Target="../media/image60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svg"/><Relationship Id="rId2" Type="http://schemas.openxmlformats.org/officeDocument/2006/relationships/image" Target="../media/image47.jpeg"/><Relationship Id="rId16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3.sv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9195999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0" y="3048001"/>
            <a:ext cx="9194800" cy="41043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2" y="6362701"/>
            <a:ext cx="1333500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6" name="Picture 5" descr="dell_blue_lrg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black">
          <a:xfrm>
            <a:off x="11037749" y="5731817"/>
            <a:ext cx="799071" cy="79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650318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4658253"/>
      </p:ext>
    </p:extLst>
  </p:cSld>
  <p:clrMapOvr>
    <a:masterClrMapping/>
  </p:clrMapOvr>
  <p:transition spd="med"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30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48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99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88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996949"/>
            <a:ext cx="12211455" cy="19812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29" y="990601"/>
            <a:ext cx="12192000" cy="19501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996949"/>
            <a:ext cx="12192000" cy="1981200"/>
            <a:chOff x="0" y="1200150"/>
            <a:chExt cx="9144000" cy="2743200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Content Placeholder 9"/>
          <p:cNvSpPr>
            <a:spLocks noGrp="1"/>
          </p:cNvSpPr>
          <p:nvPr>
            <p:ph sz="quarter" idx="17"/>
          </p:nvPr>
        </p:nvSpPr>
        <p:spPr>
          <a:xfrm>
            <a:off x="2971800" y="1073149"/>
            <a:ext cx="8839200" cy="182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54513" indent="-154513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–"/>
              <a:tabLst/>
              <a:defRPr sz="1467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13"/>
          </p:nvPr>
        </p:nvSpPr>
        <p:spPr>
          <a:xfrm>
            <a:off x="382325" y="3429000"/>
            <a:ext cx="5256475" cy="2743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 marL="154513" indent="-154513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14"/>
          </p:nvPr>
        </p:nvSpPr>
        <p:spPr>
          <a:xfrm>
            <a:off x="6553200" y="3429000"/>
            <a:ext cx="5256475" cy="2743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 marL="154513" indent="-15451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  <a:latin typeface="+mn-lt"/>
              </a:defRPr>
            </a:lvl2pPr>
            <a:lvl3pPr marL="535504" indent="-15451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2133600" cy="2133600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867" baseline="0" dirty="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499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9"/>
          <p:cNvSpPr>
            <a:spLocks noGrp="1"/>
          </p:cNvSpPr>
          <p:nvPr>
            <p:ph sz="quarter" idx="19"/>
          </p:nvPr>
        </p:nvSpPr>
        <p:spPr>
          <a:xfrm>
            <a:off x="6248400" y="4343400"/>
            <a:ext cx="5562600" cy="19050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6248400" y="1828800"/>
            <a:ext cx="5562600" cy="19050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18"/>
          </p:nvPr>
        </p:nvSpPr>
        <p:spPr>
          <a:xfrm>
            <a:off x="381000" y="4343400"/>
            <a:ext cx="5562600" cy="19050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2"/>
          </p:nvPr>
        </p:nvSpPr>
        <p:spPr>
          <a:xfrm>
            <a:off x="381000" y="1828800"/>
            <a:ext cx="5562600" cy="19050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81000" y="1447800"/>
            <a:ext cx="5562600" cy="381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248400" y="1447800"/>
            <a:ext cx="5562600" cy="381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6"/>
          </p:nvPr>
        </p:nvSpPr>
        <p:spPr>
          <a:xfrm>
            <a:off x="381000" y="3962400"/>
            <a:ext cx="5562600" cy="381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17"/>
          </p:nvPr>
        </p:nvSpPr>
        <p:spPr>
          <a:xfrm>
            <a:off x="6248400" y="3962400"/>
            <a:ext cx="5562600" cy="381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79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9"/>
          <p:cNvSpPr>
            <a:spLocks noGrp="1"/>
          </p:cNvSpPr>
          <p:nvPr>
            <p:ph sz="quarter" idx="19"/>
          </p:nvPr>
        </p:nvSpPr>
        <p:spPr>
          <a:xfrm>
            <a:off x="9067800" y="2057400"/>
            <a:ext cx="2743200" cy="3810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1">
                  <a:lumMod val="20000"/>
                  <a:lumOff val="80000"/>
                </a:schemeClr>
              </a:gs>
            </a:gsLst>
            <a:lin ang="5400000" scaled="0"/>
          </a:gradFill>
          <a:ln w="12700">
            <a:noFill/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6172200" y="2057400"/>
            <a:ext cx="2743200" cy="3810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1">
                  <a:lumMod val="20000"/>
                  <a:lumOff val="80000"/>
                </a:schemeClr>
              </a:gs>
            </a:gsLst>
            <a:lin ang="5400000" scaled="0"/>
          </a:gradFill>
          <a:ln w="12700">
            <a:noFill/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18"/>
          </p:nvPr>
        </p:nvSpPr>
        <p:spPr>
          <a:xfrm>
            <a:off x="3276600" y="2057400"/>
            <a:ext cx="2743200" cy="3810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1">
                  <a:lumMod val="20000"/>
                  <a:lumOff val="80000"/>
                </a:schemeClr>
              </a:gs>
            </a:gsLst>
            <a:lin ang="5400000" scaled="0"/>
          </a:gradFill>
          <a:ln w="12700">
            <a:noFill/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2"/>
          </p:nvPr>
        </p:nvSpPr>
        <p:spPr>
          <a:xfrm>
            <a:off x="381000" y="2057400"/>
            <a:ext cx="2743200" cy="3810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1">
                  <a:lumMod val="20000"/>
                  <a:lumOff val="80000"/>
                </a:schemeClr>
              </a:gs>
            </a:gsLst>
            <a:lin ang="5400000" scaled="0"/>
          </a:gradFill>
          <a:ln w="12700">
            <a:noFill/>
          </a:ln>
        </p:spPr>
        <p:txBody>
          <a:bodyPr lIns="91440" tIns="91440" rIns="91440" bIns="0"/>
          <a:lstStyle>
            <a:lvl1pPr marL="152396" indent="-152396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461422" indent="-156629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33">
                <a:solidFill>
                  <a:schemeClr val="bg2"/>
                </a:solidFill>
              </a:defRPr>
            </a:lvl2pPr>
            <a:lvl3pPr marL="766214" indent="-156629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81000" y="1447800"/>
            <a:ext cx="2743200" cy="609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172200" y="1447800"/>
            <a:ext cx="2743200" cy="609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6"/>
          </p:nvPr>
        </p:nvSpPr>
        <p:spPr>
          <a:xfrm>
            <a:off x="3276600" y="1447800"/>
            <a:ext cx="2743200" cy="609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17"/>
          </p:nvPr>
        </p:nvSpPr>
        <p:spPr>
          <a:xfrm>
            <a:off x="9067800" y="1447800"/>
            <a:ext cx="2743200" cy="609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 marL="914377" indent="0">
              <a:buNone/>
              <a:defRPr>
                <a:solidFill>
                  <a:schemeClr val="tx2"/>
                </a:solidFill>
              </a:defRPr>
            </a:lvl3pPr>
            <a:lvl4pPr marL="1371566" indent="0">
              <a:buNone/>
              <a:defRPr>
                <a:solidFill>
                  <a:schemeClr val="tx2"/>
                </a:solidFill>
              </a:defRPr>
            </a:lvl4pPr>
            <a:lvl5pPr marL="1828754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680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or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1373467"/>
            <a:ext cx="12211455" cy="175073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65" y="1371600"/>
            <a:ext cx="12192000" cy="1752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1373467"/>
            <a:ext cx="12192000" cy="1750733"/>
            <a:chOff x="0" y="1200150"/>
            <a:chExt cx="9144000" cy="2743200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Content Placeholder 9"/>
          <p:cNvSpPr>
            <a:spLocks noGrp="1"/>
          </p:cNvSpPr>
          <p:nvPr>
            <p:ph sz="quarter" idx="17"/>
          </p:nvPr>
        </p:nvSpPr>
        <p:spPr>
          <a:xfrm>
            <a:off x="2971800" y="1449667"/>
            <a:ext cx="8839200" cy="159833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54513" indent="-154513">
              <a:lnSpc>
                <a:spcPct val="100000"/>
              </a:lnSpc>
              <a:spcBef>
                <a:spcPts val="533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–"/>
              <a:tabLst/>
              <a:defRPr sz="1400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Subtitle 2"/>
          <p:cNvSpPr>
            <a:spLocks noGrp="1"/>
          </p:cNvSpPr>
          <p:nvPr>
            <p:ph type="subTitle" idx="1"/>
          </p:nvPr>
        </p:nvSpPr>
        <p:spPr>
          <a:xfrm>
            <a:off x="381000" y="1290917"/>
            <a:ext cx="1905000" cy="1905000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867" baseline="0" dirty="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edit Master sub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381000" y="914401"/>
            <a:ext cx="11436096" cy="287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4" indent="-228594">
              <a:buNone/>
              <a:defRPr lang="en-US" sz="1867" dirty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61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066801" y="998131"/>
            <a:ext cx="10744200" cy="113851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998132"/>
            <a:ext cx="10744200" cy="11385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66800" y="998131"/>
            <a:ext cx="10744200" cy="1138517"/>
            <a:chOff x="0" y="1200150"/>
            <a:chExt cx="9144000" cy="2743200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Content Placeholder 9"/>
          <p:cNvSpPr>
            <a:spLocks noGrp="1"/>
          </p:cNvSpPr>
          <p:nvPr>
            <p:ph sz="quarter" idx="17"/>
          </p:nvPr>
        </p:nvSpPr>
        <p:spPr>
          <a:xfrm>
            <a:off x="2133600" y="998131"/>
            <a:ext cx="9677400" cy="11385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533"/>
              </a:spcBef>
              <a:buClrTx/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•"/>
              <a:tabLst/>
              <a:defRPr sz="1867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1066801" y="2362200"/>
            <a:ext cx="10744200" cy="113851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2362202"/>
            <a:ext cx="10744200" cy="1138517"/>
          </a:xfrm>
          <a:prstGeom prst="rect">
            <a:avLst/>
          </a:prstGeom>
        </p:spPr>
      </p:pic>
      <p:grpSp>
        <p:nvGrpSpPr>
          <p:cNvPr id="34" name="Group 33"/>
          <p:cNvGrpSpPr/>
          <p:nvPr userDrawn="1"/>
        </p:nvGrpSpPr>
        <p:grpSpPr>
          <a:xfrm>
            <a:off x="1066800" y="2362200"/>
            <a:ext cx="10744200" cy="1138517"/>
            <a:chOff x="0" y="1200150"/>
            <a:chExt cx="9144000" cy="2743200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Content Placeholder 9"/>
          <p:cNvSpPr>
            <a:spLocks noGrp="1"/>
          </p:cNvSpPr>
          <p:nvPr>
            <p:ph sz="quarter" idx="18"/>
          </p:nvPr>
        </p:nvSpPr>
        <p:spPr>
          <a:xfrm>
            <a:off x="2133600" y="2362200"/>
            <a:ext cx="9677400" cy="11385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533"/>
              </a:spcBef>
              <a:buClrTx/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•"/>
              <a:tabLst/>
              <a:defRPr sz="1867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1066801" y="3742766"/>
            <a:ext cx="10744200" cy="113851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3742767"/>
            <a:ext cx="10744200" cy="1138517"/>
          </a:xfrm>
          <a:prstGeom prst="rect">
            <a:avLst/>
          </a:prstGeom>
        </p:spPr>
      </p:pic>
      <p:grpSp>
        <p:nvGrpSpPr>
          <p:cNvPr id="41" name="Group 40"/>
          <p:cNvGrpSpPr/>
          <p:nvPr userDrawn="1"/>
        </p:nvGrpSpPr>
        <p:grpSpPr>
          <a:xfrm>
            <a:off x="1066800" y="3742766"/>
            <a:ext cx="10744200" cy="1138517"/>
            <a:chOff x="0" y="1200150"/>
            <a:chExt cx="9144000" cy="2743200"/>
          </a:xfrm>
        </p:grpSpPr>
        <p:cxnSp>
          <p:nvCxnSpPr>
            <p:cNvPr id="42" name="Straight Connector 41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Content Placeholder 9"/>
          <p:cNvSpPr>
            <a:spLocks noGrp="1"/>
          </p:cNvSpPr>
          <p:nvPr>
            <p:ph sz="quarter" idx="19"/>
          </p:nvPr>
        </p:nvSpPr>
        <p:spPr>
          <a:xfrm>
            <a:off x="2133600" y="3742766"/>
            <a:ext cx="9677400" cy="11385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533"/>
              </a:spcBef>
              <a:buClrTx/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•"/>
              <a:tabLst/>
              <a:defRPr sz="1867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066801" y="5109883"/>
            <a:ext cx="10744200" cy="113851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5109884"/>
            <a:ext cx="10744200" cy="1138517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>
          <a:xfrm>
            <a:off x="1066800" y="5109883"/>
            <a:ext cx="10744200" cy="1138517"/>
            <a:chOff x="0" y="1200150"/>
            <a:chExt cx="9144000" cy="2743200"/>
          </a:xfrm>
        </p:grpSpPr>
        <p:cxnSp>
          <p:nvCxnSpPr>
            <p:cNvPr id="49" name="Straight Connector 48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Content Placeholder 9"/>
          <p:cNvSpPr>
            <a:spLocks noGrp="1"/>
          </p:cNvSpPr>
          <p:nvPr>
            <p:ph sz="quarter" idx="20"/>
          </p:nvPr>
        </p:nvSpPr>
        <p:spPr>
          <a:xfrm>
            <a:off x="2133600" y="5109883"/>
            <a:ext cx="9677400" cy="113851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533"/>
              </a:spcBef>
              <a:buClrTx/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  <a:latin typeface="+mn-lt"/>
              </a:defRPr>
            </a:lvl1pPr>
            <a:lvl2pPr marL="455073" indent="-148163">
              <a:lnSpc>
                <a:spcPct val="100000"/>
              </a:lnSpc>
              <a:spcBef>
                <a:spcPts val="267"/>
              </a:spcBef>
              <a:buClrTx/>
              <a:buFont typeface="Arial" panose="020B0604020202020204" pitchFamily="34" charset="0"/>
              <a:buChar char="•"/>
              <a:tabLst/>
              <a:defRPr sz="1867">
                <a:solidFill>
                  <a:schemeClr val="tx2"/>
                </a:solidFill>
                <a:latin typeface="+mn-lt"/>
              </a:defRPr>
            </a:lvl2pPr>
            <a:lvl3pPr marL="455073" indent="-148163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Oval 52"/>
          <p:cNvSpPr>
            <a:spLocks noChangeAspect="1"/>
          </p:cNvSpPr>
          <p:nvPr userDrawn="1"/>
        </p:nvSpPr>
        <p:spPr>
          <a:xfrm>
            <a:off x="381000" y="917448"/>
            <a:ext cx="1292352" cy="1292352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4" name="Oval 53"/>
          <p:cNvSpPr>
            <a:spLocks noChangeAspect="1"/>
          </p:cNvSpPr>
          <p:nvPr userDrawn="1"/>
        </p:nvSpPr>
        <p:spPr>
          <a:xfrm>
            <a:off x="381000" y="2286000"/>
            <a:ext cx="1292352" cy="1292352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8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55" name="Oval 54"/>
          <p:cNvSpPr>
            <a:spLocks noChangeAspect="1"/>
          </p:cNvSpPr>
          <p:nvPr userDrawn="1"/>
        </p:nvSpPr>
        <p:spPr>
          <a:xfrm>
            <a:off x="381000" y="3657600"/>
            <a:ext cx="1292352" cy="1292352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8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56" name="Oval 55"/>
          <p:cNvSpPr>
            <a:spLocks noChangeAspect="1"/>
          </p:cNvSpPr>
          <p:nvPr userDrawn="1"/>
        </p:nvSpPr>
        <p:spPr>
          <a:xfrm>
            <a:off x="381000" y="5029200"/>
            <a:ext cx="1292352" cy="1292352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4800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3911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2" grpId="0" animBg="1"/>
      <p:bldP spid="39" grpId="0" animBg="1"/>
      <p:bldP spid="46" grpId="0" animBg="1"/>
    </p:bldLst>
  </p:timing>
  <p:extLst>
    <p:ext uri="{DCECCB84-F9BA-43D5-87BE-67443E8EF086}">
      <p15:sldGuideLst xmlns:p15="http://schemas.microsoft.com/office/powerpoint/2012/main">
        <p15:guide id="1" orient="horz" pos="82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95400"/>
            <a:ext cx="5334000" cy="426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400"/>
              </a:spcBef>
              <a:buClr>
                <a:srgbClr val="808080"/>
              </a:buClr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230712" indent="-230712">
              <a:lnSpc>
                <a:spcPct val="100000"/>
              </a:lnSpc>
              <a:spcBef>
                <a:spcPts val="1067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685783" indent="-30267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3048000" y="5715000"/>
            <a:ext cx="6096000" cy="76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None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685783" indent="-30267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Freeform 90"/>
          <p:cNvSpPr>
            <a:spLocks noChangeAspect="1" noEditPoints="1"/>
          </p:cNvSpPr>
          <p:nvPr userDrawn="1"/>
        </p:nvSpPr>
        <p:spPr bwMode="auto">
          <a:xfrm>
            <a:off x="5608320" y="4953000"/>
            <a:ext cx="975360" cy="605616"/>
          </a:xfrm>
          <a:custGeom>
            <a:avLst/>
            <a:gdLst>
              <a:gd name="T0" fmla="*/ 149 w 256"/>
              <a:gd name="T1" fmla="*/ 18 h 158"/>
              <a:gd name="T2" fmla="*/ 196 w 256"/>
              <a:gd name="T3" fmla="*/ 73 h 158"/>
              <a:gd name="T4" fmla="*/ 197 w 256"/>
              <a:gd name="T5" fmla="*/ 89 h 158"/>
              <a:gd name="T6" fmla="*/ 212 w 256"/>
              <a:gd name="T7" fmla="*/ 90 h 158"/>
              <a:gd name="T8" fmla="*/ 239 w 256"/>
              <a:gd name="T9" fmla="*/ 115 h 158"/>
              <a:gd name="T10" fmla="*/ 213 w 256"/>
              <a:gd name="T11" fmla="*/ 140 h 158"/>
              <a:gd name="T12" fmla="*/ 46 w 256"/>
              <a:gd name="T13" fmla="*/ 140 h 158"/>
              <a:gd name="T14" fmla="*/ 17 w 256"/>
              <a:gd name="T15" fmla="*/ 111 h 158"/>
              <a:gd name="T16" fmla="*/ 38 w 256"/>
              <a:gd name="T17" fmla="*/ 82 h 158"/>
              <a:gd name="T18" fmla="*/ 49 w 256"/>
              <a:gd name="T19" fmla="*/ 79 h 158"/>
              <a:gd name="T20" fmla="*/ 51 w 256"/>
              <a:gd name="T21" fmla="*/ 68 h 158"/>
              <a:gd name="T22" fmla="*/ 83 w 256"/>
              <a:gd name="T23" fmla="*/ 46 h 158"/>
              <a:gd name="T24" fmla="*/ 93 w 256"/>
              <a:gd name="T25" fmla="*/ 47 h 158"/>
              <a:gd name="T26" fmla="*/ 105 w 256"/>
              <a:gd name="T27" fmla="*/ 48 h 158"/>
              <a:gd name="T28" fmla="*/ 110 w 256"/>
              <a:gd name="T29" fmla="*/ 38 h 158"/>
              <a:gd name="T30" fmla="*/ 149 w 256"/>
              <a:gd name="T31" fmla="*/ 18 h 158"/>
              <a:gd name="T32" fmla="*/ 149 w 256"/>
              <a:gd name="T33" fmla="*/ 0 h 158"/>
              <a:gd name="T34" fmla="*/ 95 w 256"/>
              <a:gd name="T35" fmla="*/ 30 h 158"/>
              <a:gd name="T36" fmla="*/ 83 w 256"/>
              <a:gd name="T37" fmla="*/ 29 h 158"/>
              <a:gd name="T38" fmla="*/ 34 w 256"/>
              <a:gd name="T39" fmla="*/ 65 h 158"/>
              <a:gd name="T40" fmla="*/ 0 w 256"/>
              <a:gd name="T41" fmla="*/ 111 h 158"/>
              <a:gd name="T42" fmla="*/ 46 w 256"/>
              <a:gd name="T43" fmla="*/ 158 h 158"/>
              <a:gd name="T44" fmla="*/ 214 w 256"/>
              <a:gd name="T45" fmla="*/ 158 h 158"/>
              <a:gd name="T46" fmla="*/ 256 w 256"/>
              <a:gd name="T47" fmla="*/ 115 h 158"/>
              <a:gd name="T48" fmla="*/ 214 w 256"/>
              <a:gd name="T49" fmla="*/ 73 h 158"/>
              <a:gd name="T50" fmla="*/ 149 w 256"/>
              <a:gd name="T51" fmla="*/ 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6" h="158">
                <a:moveTo>
                  <a:pt x="149" y="18"/>
                </a:moveTo>
                <a:cubicBezTo>
                  <a:pt x="182" y="18"/>
                  <a:pt x="196" y="46"/>
                  <a:pt x="196" y="73"/>
                </a:cubicBezTo>
                <a:cubicBezTo>
                  <a:pt x="197" y="89"/>
                  <a:pt x="197" y="89"/>
                  <a:pt x="197" y="89"/>
                </a:cubicBezTo>
                <a:cubicBezTo>
                  <a:pt x="212" y="90"/>
                  <a:pt x="212" y="90"/>
                  <a:pt x="212" y="90"/>
                </a:cubicBezTo>
                <a:cubicBezTo>
                  <a:pt x="217" y="91"/>
                  <a:pt x="239" y="94"/>
                  <a:pt x="239" y="115"/>
                </a:cubicBezTo>
                <a:cubicBezTo>
                  <a:pt x="239" y="136"/>
                  <a:pt x="220" y="140"/>
                  <a:pt x="213" y="140"/>
                </a:cubicBezTo>
                <a:cubicBezTo>
                  <a:pt x="46" y="140"/>
                  <a:pt x="46" y="140"/>
                  <a:pt x="46" y="140"/>
                </a:cubicBezTo>
                <a:cubicBezTo>
                  <a:pt x="43" y="140"/>
                  <a:pt x="17" y="140"/>
                  <a:pt x="17" y="111"/>
                </a:cubicBezTo>
                <a:cubicBezTo>
                  <a:pt x="17" y="89"/>
                  <a:pt x="36" y="82"/>
                  <a:pt x="38" y="82"/>
                </a:cubicBezTo>
                <a:cubicBezTo>
                  <a:pt x="49" y="79"/>
                  <a:pt x="49" y="79"/>
                  <a:pt x="49" y="79"/>
                </a:cubicBezTo>
                <a:cubicBezTo>
                  <a:pt x="51" y="68"/>
                  <a:pt x="51" y="68"/>
                  <a:pt x="51" y="68"/>
                </a:cubicBezTo>
                <a:cubicBezTo>
                  <a:pt x="51" y="67"/>
                  <a:pt x="54" y="46"/>
                  <a:pt x="83" y="46"/>
                </a:cubicBezTo>
                <a:cubicBezTo>
                  <a:pt x="86" y="46"/>
                  <a:pt x="90" y="46"/>
                  <a:pt x="93" y="47"/>
                </a:cubicBezTo>
                <a:cubicBezTo>
                  <a:pt x="105" y="48"/>
                  <a:pt x="105" y="48"/>
                  <a:pt x="105" y="48"/>
                </a:cubicBezTo>
                <a:cubicBezTo>
                  <a:pt x="110" y="38"/>
                  <a:pt x="110" y="38"/>
                  <a:pt x="110" y="38"/>
                </a:cubicBezTo>
                <a:cubicBezTo>
                  <a:pt x="111" y="37"/>
                  <a:pt x="122" y="18"/>
                  <a:pt x="149" y="18"/>
                </a:cubicBezTo>
                <a:moveTo>
                  <a:pt x="149" y="0"/>
                </a:moveTo>
                <a:cubicBezTo>
                  <a:pt x="110" y="0"/>
                  <a:pt x="95" y="30"/>
                  <a:pt x="95" y="30"/>
                </a:cubicBezTo>
                <a:cubicBezTo>
                  <a:pt x="91" y="29"/>
                  <a:pt x="87" y="29"/>
                  <a:pt x="83" y="29"/>
                </a:cubicBezTo>
                <a:cubicBezTo>
                  <a:pt x="39" y="29"/>
                  <a:pt x="34" y="65"/>
                  <a:pt x="34" y="65"/>
                </a:cubicBezTo>
                <a:cubicBezTo>
                  <a:pt x="34" y="65"/>
                  <a:pt x="0" y="75"/>
                  <a:pt x="0" y="111"/>
                </a:cubicBezTo>
                <a:cubicBezTo>
                  <a:pt x="0" y="148"/>
                  <a:pt x="30" y="158"/>
                  <a:pt x="46" y="158"/>
                </a:cubicBezTo>
                <a:cubicBezTo>
                  <a:pt x="214" y="158"/>
                  <a:pt x="214" y="158"/>
                  <a:pt x="214" y="158"/>
                </a:cubicBezTo>
                <a:cubicBezTo>
                  <a:pt x="214" y="158"/>
                  <a:pt x="256" y="155"/>
                  <a:pt x="256" y="115"/>
                </a:cubicBezTo>
                <a:cubicBezTo>
                  <a:pt x="256" y="76"/>
                  <a:pt x="214" y="73"/>
                  <a:pt x="214" y="73"/>
                </a:cubicBezTo>
                <a:cubicBezTo>
                  <a:pt x="214" y="32"/>
                  <a:pt x="188" y="0"/>
                  <a:pt x="14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991100" y="5638800"/>
            <a:ext cx="22098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326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609600" y="6172200"/>
            <a:ext cx="109728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034" y="6226685"/>
            <a:ext cx="764033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6319" y="6431530"/>
            <a:ext cx="347132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429375"/>
            <a:ext cx="251460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67872" y="261563"/>
            <a:ext cx="10985501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113163"/>
      </p:ext>
    </p:extLst>
  </p:cSld>
  <p:clrMapOvr>
    <a:masterClrMapping/>
  </p:clrMapOvr>
  <p:transition spd="med"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961" y="1"/>
            <a:ext cx="12192000" cy="28152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1"/>
            <a:ext cx="4343400" cy="103412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0" y="2819400"/>
            <a:ext cx="12192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quarter" idx="18"/>
          </p:nvPr>
        </p:nvSpPr>
        <p:spPr>
          <a:xfrm>
            <a:off x="381000" y="1676401"/>
            <a:ext cx="4343400" cy="287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67" dirty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333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wave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143000"/>
            <a:ext cx="3657600" cy="48768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2880" tIns="182880" rIns="137160" bIns="0"/>
          <a:lstStyle>
            <a:lvl1pPr marL="0" indent="0">
              <a:lnSpc>
                <a:spcPct val="100000"/>
              </a:lnSpc>
              <a:spcBef>
                <a:spcPts val="24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28594" indent="-228594">
              <a:lnSpc>
                <a:spcPct val="100000"/>
              </a:lnSpc>
              <a:spcBef>
                <a:spcPts val="1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9"/>
          <p:cNvSpPr>
            <a:spLocks noGrp="1"/>
          </p:cNvSpPr>
          <p:nvPr>
            <p:ph sz="quarter" idx="13"/>
          </p:nvPr>
        </p:nvSpPr>
        <p:spPr>
          <a:xfrm>
            <a:off x="4572000" y="1143000"/>
            <a:ext cx="7239000" cy="4876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67">
                <a:solidFill>
                  <a:schemeClr val="bg2"/>
                </a:solidFill>
                <a:latin typeface="+mn-lt"/>
              </a:defRPr>
            </a:lvl2pPr>
            <a:lvl3pPr marL="531271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67D955-6119-4F4A-BF9F-4B4307058FCE}"/>
              </a:ext>
            </a:extLst>
          </p:cNvPr>
          <p:cNvSpPr txBox="1"/>
          <p:nvPr userDrawn="1"/>
        </p:nvSpPr>
        <p:spPr>
          <a:xfrm>
            <a:off x="872411" y="6650097"/>
            <a:ext cx="1985844" cy="12311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dirty="0">
                <a:solidFill>
                  <a:schemeClr val="bg2"/>
                </a:solidFill>
              </a:rPr>
              <a:t>Dell and  Partner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945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5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 b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1073149"/>
            <a:ext cx="12211455" cy="144145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/>
              </a:gs>
            </a:gsLst>
            <a:lin ang="3600000" scaled="0"/>
          </a:gra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>
              <a:solidFill>
                <a:schemeClr val="tx2"/>
              </a:solidFill>
            </a:endParaRP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65" y="1071283"/>
            <a:ext cx="12192000" cy="14433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1073149"/>
            <a:ext cx="12192000" cy="1441451"/>
            <a:chOff x="0" y="1200150"/>
            <a:chExt cx="9144000" cy="2743200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0" y="12001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0" y="3943350"/>
              <a:ext cx="91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Subtitle 2"/>
          <p:cNvSpPr>
            <a:spLocks noGrp="1"/>
          </p:cNvSpPr>
          <p:nvPr>
            <p:ph type="subTitle" idx="1"/>
          </p:nvPr>
        </p:nvSpPr>
        <p:spPr>
          <a:xfrm>
            <a:off x="381000" y="990600"/>
            <a:ext cx="1600200" cy="1600200"/>
          </a:xfrm>
          <a:prstGeom prst="ellipse">
            <a:avLst/>
          </a:prstGeom>
          <a:gradFill>
            <a:gsLst>
              <a:gs pos="50000">
                <a:schemeClr val="accent3"/>
              </a:gs>
              <a:gs pos="100000">
                <a:schemeClr val="accent4"/>
              </a:gs>
              <a:gs pos="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600" baseline="0" dirty="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2996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  <p:extLst>
    <p:ext uri="{DCECCB84-F9BA-43D5-87BE-67443E8EF086}">
      <p15:sldGuideLst xmlns:p15="http://schemas.microsoft.com/office/powerpoint/2012/main">
        <p15:guide id="1" orient="horz" pos="118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300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4935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4008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403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54102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4157" y="1295400"/>
            <a:ext cx="5436844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9"/>
          <p:cNvSpPr>
            <a:spLocks noGrp="1"/>
          </p:cNvSpPr>
          <p:nvPr>
            <p:ph sz="quarter" idx="11"/>
          </p:nvPr>
        </p:nvSpPr>
        <p:spPr>
          <a:xfrm>
            <a:off x="381000" y="1905000"/>
            <a:ext cx="5410200" cy="4114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2"/>
          </p:nvPr>
        </p:nvSpPr>
        <p:spPr>
          <a:xfrm>
            <a:off x="6400800" y="1905000"/>
            <a:ext cx="5410200" cy="4114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0035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90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053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296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43053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82296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0248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, text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9"/>
          <p:cNvSpPr>
            <a:spLocks noGrp="1"/>
          </p:cNvSpPr>
          <p:nvPr>
            <p:ph sz="quarter" idx="18"/>
          </p:nvPr>
        </p:nvSpPr>
        <p:spPr>
          <a:xfrm>
            <a:off x="8229600" y="3352800"/>
            <a:ext cx="3580075" cy="2667000"/>
          </a:xfrm>
          <a:prstGeom prst="rect">
            <a:avLst/>
          </a:prstGeom>
          <a:gradFill>
            <a:gsLst>
              <a:gs pos="70000">
                <a:schemeClr val="tx2"/>
              </a:gs>
              <a:gs pos="30000">
                <a:schemeClr val="tx2"/>
              </a:gs>
              <a:gs pos="0">
                <a:schemeClr val="tx2">
                  <a:alpha val="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0"/>
          </a:gradFill>
          <a:ln w="38100" cmpd="sng">
            <a:gradFill>
              <a:gsLst>
                <a:gs pos="39000">
                  <a:schemeClr val="bg1"/>
                </a:gs>
                <a:gs pos="61000">
                  <a:schemeClr val="bg1">
                    <a:alpha val="0"/>
                  </a:schemeClr>
                </a:gs>
                <a:gs pos="39000">
                  <a:schemeClr val="bg1">
                    <a:alpha val="0"/>
                  </a:schemeClr>
                </a:gs>
                <a:gs pos="61000">
                  <a:schemeClr val="bg1"/>
                </a:gs>
              </a:gsLst>
              <a:lin ang="0" scaled="0"/>
            </a:gradFill>
          </a:ln>
          <a:effectLst/>
        </p:spPr>
        <p:txBody>
          <a:bodyPr wrap="square" lIns="182880" tIns="0" rIns="137160" bIns="0" rtlCol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None/>
              <a:defRPr lang="en-US" sz="1867" kern="0" dirty="0" smtClean="0">
                <a:solidFill>
                  <a:schemeClr val="bg2"/>
                </a:solidFill>
              </a:defRPr>
            </a:lvl1pPr>
            <a:lvl2pPr marL="1299601" indent="-36194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Font typeface="Arial" panose="020B0604020202020204" pitchFamily="34" charset="0"/>
              <a:buChar char="—"/>
              <a:defRPr lang="en-US" sz="1600" dirty="0" smtClean="0"/>
            </a:lvl2pPr>
          </a:lstStyle>
          <a:p>
            <a:pPr marL="0" lvl="0">
              <a:spcBef>
                <a:spcPts val="800"/>
              </a:spcBef>
              <a:spcAft>
                <a:spcPts val="0"/>
              </a:spcAft>
            </a:pPr>
            <a:r>
              <a:rPr lang="en-US" dirty="0"/>
              <a:t>Click to edit Master text styles</a:t>
            </a:r>
          </a:p>
          <a:p>
            <a:pPr marL="457189" lvl="1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reeform 5"/>
          <p:cNvSpPr>
            <a:spLocks noChangeAspect="1" noEditPoints="1"/>
          </p:cNvSpPr>
          <p:nvPr/>
        </p:nvSpPr>
        <p:spPr bwMode="auto">
          <a:xfrm>
            <a:off x="9734135" y="3124200"/>
            <a:ext cx="572331" cy="457201"/>
          </a:xfrm>
          <a:custGeom>
            <a:avLst/>
            <a:gdLst>
              <a:gd name="T0" fmla="*/ 0 w 517"/>
              <a:gd name="T1" fmla="*/ 413 h 413"/>
              <a:gd name="T2" fmla="*/ 0 w 517"/>
              <a:gd name="T3" fmla="*/ 202 h 413"/>
              <a:gd name="T4" fmla="*/ 123 w 517"/>
              <a:gd name="T5" fmla="*/ 0 h 413"/>
              <a:gd name="T6" fmla="*/ 235 w 517"/>
              <a:gd name="T7" fmla="*/ 0 h 413"/>
              <a:gd name="T8" fmla="*/ 137 w 517"/>
              <a:gd name="T9" fmla="*/ 190 h 413"/>
              <a:gd name="T10" fmla="*/ 235 w 517"/>
              <a:gd name="T11" fmla="*/ 190 h 413"/>
              <a:gd name="T12" fmla="*/ 235 w 517"/>
              <a:gd name="T13" fmla="*/ 413 h 413"/>
              <a:gd name="T14" fmla="*/ 0 w 517"/>
              <a:gd name="T15" fmla="*/ 413 h 413"/>
              <a:gd name="T16" fmla="*/ 283 w 517"/>
              <a:gd name="T17" fmla="*/ 413 h 413"/>
              <a:gd name="T18" fmla="*/ 283 w 517"/>
              <a:gd name="T19" fmla="*/ 202 h 413"/>
              <a:gd name="T20" fmla="*/ 407 w 517"/>
              <a:gd name="T21" fmla="*/ 0 h 413"/>
              <a:gd name="T22" fmla="*/ 517 w 517"/>
              <a:gd name="T23" fmla="*/ 0 h 413"/>
              <a:gd name="T24" fmla="*/ 419 w 517"/>
              <a:gd name="T25" fmla="*/ 190 h 413"/>
              <a:gd name="T26" fmla="*/ 517 w 517"/>
              <a:gd name="T27" fmla="*/ 190 h 413"/>
              <a:gd name="T28" fmla="*/ 517 w 517"/>
              <a:gd name="T29" fmla="*/ 413 h 413"/>
              <a:gd name="T30" fmla="*/ 283 w 517"/>
              <a:gd name="T31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413">
                <a:moveTo>
                  <a:pt x="0" y="413"/>
                </a:moveTo>
                <a:lnTo>
                  <a:pt x="0" y="202"/>
                </a:lnTo>
                <a:lnTo>
                  <a:pt x="123" y="0"/>
                </a:lnTo>
                <a:lnTo>
                  <a:pt x="235" y="0"/>
                </a:lnTo>
                <a:lnTo>
                  <a:pt x="137" y="190"/>
                </a:lnTo>
                <a:lnTo>
                  <a:pt x="235" y="190"/>
                </a:lnTo>
                <a:lnTo>
                  <a:pt x="235" y="413"/>
                </a:lnTo>
                <a:lnTo>
                  <a:pt x="0" y="413"/>
                </a:lnTo>
                <a:close/>
                <a:moveTo>
                  <a:pt x="283" y="413"/>
                </a:moveTo>
                <a:lnTo>
                  <a:pt x="283" y="202"/>
                </a:lnTo>
                <a:lnTo>
                  <a:pt x="407" y="0"/>
                </a:lnTo>
                <a:lnTo>
                  <a:pt x="517" y="0"/>
                </a:lnTo>
                <a:lnTo>
                  <a:pt x="419" y="190"/>
                </a:lnTo>
                <a:lnTo>
                  <a:pt x="517" y="190"/>
                </a:lnTo>
                <a:lnTo>
                  <a:pt x="517" y="413"/>
                </a:lnTo>
                <a:lnTo>
                  <a:pt x="283" y="4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" name="Freeform 14"/>
          <p:cNvSpPr>
            <a:spLocks noChangeAspect="1" noEditPoints="1"/>
          </p:cNvSpPr>
          <p:nvPr/>
        </p:nvSpPr>
        <p:spPr bwMode="auto">
          <a:xfrm rot="10800000">
            <a:off x="9734136" y="5791200"/>
            <a:ext cx="572331" cy="457201"/>
          </a:xfrm>
          <a:custGeom>
            <a:avLst/>
            <a:gdLst>
              <a:gd name="T0" fmla="*/ 0 w 517"/>
              <a:gd name="T1" fmla="*/ 413 h 413"/>
              <a:gd name="T2" fmla="*/ 0 w 517"/>
              <a:gd name="T3" fmla="*/ 202 h 413"/>
              <a:gd name="T4" fmla="*/ 123 w 517"/>
              <a:gd name="T5" fmla="*/ 0 h 413"/>
              <a:gd name="T6" fmla="*/ 235 w 517"/>
              <a:gd name="T7" fmla="*/ 0 h 413"/>
              <a:gd name="T8" fmla="*/ 137 w 517"/>
              <a:gd name="T9" fmla="*/ 190 h 413"/>
              <a:gd name="T10" fmla="*/ 235 w 517"/>
              <a:gd name="T11" fmla="*/ 190 h 413"/>
              <a:gd name="T12" fmla="*/ 235 w 517"/>
              <a:gd name="T13" fmla="*/ 413 h 413"/>
              <a:gd name="T14" fmla="*/ 0 w 517"/>
              <a:gd name="T15" fmla="*/ 413 h 413"/>
              <a:gd name="T16" fmla="*/ 283 w 517"/>
              <a:gd name="T17" fmla="*/ 413 h 413"/>
              <a:gd name="T18" fmla="*/ 283 w 517"/>
              <a:gd name="T19" fmla="*/ 202 h 413"/>
              <a:gd name="T20" fmla="*/ 407 w 517"/>
              <a:gd name="T21" fmla="*/ 0 h 413"/>
              <a:gd name="T22" fmla="*/ 517 w 517"/>
              <a:gd name="T23" fmla="*/ 0 h 413"/>
              <a:gd name="T24" fmla="*/ 419 w 517"/>
              <a:gd name="T25" fmla="*/ 190 h 413"/>
              <a:gd name="T26" fmla="*/ 517 w 517"/>
              <a:gd name="T27" fmla="*/ 190 h 413"/>
              <a:gd name="T28" fmla="*/ 517 w 517"/>
              <a:gd name="T29" fmla="*/ 413 h 413"/>
              <a:gd name="T30" fmla="*/ 283 w 517"/>
              <a:gd name="T31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413">
                <a:moveTo>
                  <a:pt x="0" y="413"/>
                </a:moveTo>
                <a:lnTo>
                  <a:pt x="0" y="202"/>
                </a:lnTo>
                <a:lnTo>
                  <a:pt x="123" y="0"/>
                </a:lnTo>
                <a:lnTo>
                  <a:pt x="235" y="0"/>
                </a:lnTo>
                <a:lnTo>
                  <a:pt x="137" y="190"/>
                </a:lnTo>
                <a:lnTo>
                  <a:pt x="235" y="190"/>
                </a:lnTo>
                <a:lnTo>
                  <a:pt x="235" y="413"/>
                </a:lnTo>
                <a:lnTo>
                  <a:pt x="0" y="413"/>
                </a:lnTo>
                <a:close/>
                <a:moveTo>
                  <a:pt x="283" y="413"/>
                </a:moveTo>
                <a:lnTo>
                  <a:pt x="283" y="202"/>
                </a:lnTo>
                <a:lnTo>
                  <a:pt x="407" y="0"/>
                </a:lnTo>
                <a:lnTo>
                  <a:pt x="517" y="0"/>
                </a:lnTo>
                <a:lnTo>
                  <a:pt x="419" y="190"/>
                </a:lnTo>
                <a:lnTo>
                  <a:pt x="517" y="190"/>
                </a:lnTo>
                <a:lnTo>
                  <a:pt x="517" y="413"/>
                </a:lnTo>
                <a:lnTo>
                  <a:pt x="283" y="4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6" name="Content Placeholder 9"/>
          <p:cNvSpPr>
            <a:spLocks noGrp="1"/>
          </p:cNvSpPr>
          <p:nvPr userDrawn="1">
            <p:ph sz="quarter" idx="13"/>
          </p:nvPr>
        </p:nvSpPr>
        <p:spPr>
          <a:xfrm>
            <a:off x="382325" y="1295400"/>
            <a:ext cx="3580075" cy="4876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30712" indent="-230712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  <a:latin typeface="+mn-lt"/>
              </a:defRPr>
            </a:lvl2pPr>
            <a:lvl3pPr marL="613818" indent="-226478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Picture Placeholder 16"/>
          <p:cNvSpPr>
            <a:spLocks noGrp="1"/>
          </p:cNvSpPr>
          <p:nvPr userDrawn="1">
            <p:ph type="pic" sz="quarter" idx="16"/>
          </p:nvPr>
        </p:nvSpPr>
        <p:spPr>
          <a:xfrm>
            <a:off x="4343400" y="1295400"/>
            <a:ext cx="7467600" cy="152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18" name="Picture Placeholder 16"/>
          <p:cNvSpPr>
            <a:spLocks noGrp="1"/>
          </p:cNvSpPr>
          <p:nvPr userDrawn="1">
            <p:ph type="pic" sz="quarter" idx="17"/>
          </p:nvPr>
        </p:nvSpPr>
        <p:spPr>
          <a:xfrm>
            <a:off x="4343400" y="3048000"/>
            <a:ext cx="3581400" cy="3124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87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9"/>
          <p:cNvSpPr>
            <a:spLocks noGrp="1"/>
          </p:cNvSpPr>
          <p:nvPr userDrawn="1">
            <p:ph sz="quarter" idx="13"/>
          </p:nvPr>
        </p:nvSpPr>
        <p:spPr>
          <a:xfrm>
            <a:off x="382325" y="1143000"/>
            <a:ext cx="5408875" cy="2819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30712" indent="-230712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  <a:latin typeface="+mn-lt"/>
              </a:defRPr>
            </a:lvl2pPr>
            <a:lvl3pPr marL="613818" indent="-226478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400800" y="1143000"/>
            <a:ext cx="5408875" cy="2819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30712" indent="-230712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  <a:latin typeface="+mn-lt"/>
              </a:defRPr>
            </a:lvl2pPr>
            <a:lvl3pPr marL="613818" indent="-226478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381000" y="4114800"/>
            <a:ext cx="11430000" cy="2133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22" name="Content Placeholder 9"/>
          <p:cNvSpPr>
            <a:spLocks noGrp="1"/>
          </p:cNvSpPr>
          <p:nvPr>
            <p:ph sz="quarter" idx="15"/>
          </p:nvPr>
        </p:nvSpPr>
        <p:spPr>
          <a:xfrm>
            <a:off x="533400" y="4267200"/>
            <a:ext cx="2057400" cy="182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230712" indent="-230712">
              <a:lnSpc>
                <a:spcPct val="100000"/>
              </a:lnSpc>
              <a:spcBef>
                <a:spcPts val="8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  <a:latin typeface="+mn-lt"/>
              </a:defRPr>
            </a:lvl2pPr>
            <a:lvl3pPr marL="613818" indent="-226478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6"/>
          </p:nvPr>
        </p:nvSpPr>
        <p:spPr>
          <a:xfrm>
            <a:off x="2819400" y="4267200"/>
            <a:ext cx="2743200" cy="1828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Chart Placeholder 5"/>
          <p:cNvSpPr>
            <a:spLocks noGrp="1"/>
          </p:cNvSpPr>
          <p:nvPr>
            <p:ph type="chart" sz="quarter" idx="17"/>
          </p:nvPr>
        </p:nvSpPr>
        <p:spPr>
          <a:xfrm>
            <a:off x="5867400" y="4267200"/>
            <a:ext cx="2743200" cy="1828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8915400" y="4267200"/>
            <a:ext cx="2743200" cy="1828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18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9583" y="6479552"/>
            <a:ext cx="591283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200">
                <a:solidFill>
                  <a:srgbClr val="FFFFFF"/>
                </a:solidFill>
                <a:latin typeface="Arial" charset="0"/>
              </a:rPr>
              <a:t>© IDC   Visit us at IDC.com and follow us on Twitter: @IDC</a:t>
            </a:r>
            <a:endParaRPr lang="en-US" sz="32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43070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0879362-658A-E344-B7E9-F19991414F7F}" type="slidenum">
              <a:rPr lang="en-US" sz="3200">
                <a:solidFill>
                  <a:srgbClr val="FFFFFF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20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09800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3521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bkg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/>
          </p:nvPr>
        </p:nvSpPr>
        <p:spPr>
          <a:xfrm>
            <a:off x="6096000" y="1600200"/>
            <a:ext cx="5715000" cy="441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240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7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381000" y="1600200"/>
            <a:ext cx="5257800" cy="44196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4B4D43-CCC2-45F3-B2A8-1263FEB97B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901" y="6599876"/>
            <a:ext cx="2540000" cy="2612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9F7F35-E25B-4B95-ADAE-23D4147C8106}"/>
              </a:ext>
            </a:extLst>
          </p:cNvPr>
          <p:cNvSpPr txBox="1"/>
          <p:nvPr userDrawn="1"/>
        </p:nvSpPr>
        <p:spPr>
          <a:xfrm>
            <a:off x="1074166" y="6672242"/>
            <a:ext cx="18610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800" dirty="0">
                <a:solidFill>
                  <a:schemeClr val="tx2">
                    <a:lumMod val="50000"/>
                  </a:schemeClr>
                </a:solidFill>
              </a:rPr>
              <a:t>Dell EMC And Partner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801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bkgd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/>
          </p:nvPr>
        </p:nvSpPr>
        <p:spPr>
          <a:xfrm>
            <a:off x="381000" y="1600200"/>
            <a:ext cx="5715000" cy="297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240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3" name="Content Placeholder 9"/>
          <p:cNvSpPr>
            <a:spLocks noGrp="1"/>
          </p:cNvSpPr>
          <p:nvPr>
            <p:ph sz="quarter" idx="13"/>
          </p:nvPr>
        </p:nvSpPr>
        <p:spPr>
          <a:xfrm>
            <a:off x="83058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4"/>
          </p:nvPr>
        </p:nvSpPr>
        <p:spPr>
          <a:xfrm>
            <a:off x="43434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3810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6553200" y="1600200"/>
            <a:ext cx="5257800" cy="2971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A90581-4011-4B80-9029-3E16B0512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B52F6C-833A-4DBB-986E-7106A2A949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901" y="6599876"/>
            <a:ext cx="2540000" cy="2612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7128E4-14C4-425F-9C23-70EC3FD8E53D}"/>
              </a:ext>
            </a:extLst>
          </p:cNvPr>
          <p:cNvSpPr txBox="1"/>
          <p:nvPr userDrawn="1"/>
        </p:nvSpPr>
        <p:spPr>
          <a:xfrm>
            <a:off x="1074166" y="6672242"/>
            <a:ext cx="18610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800" dirty="0">
                <a:solidFill>
                  <a:schemeClr val="tx2">
                    <a:lumMod val="50000"/>
                  </a:schemeClr>
                </a:solidFill>
              </a:rPr>
              <a:t>Dell EMC And Partner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414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bkgd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3"/>
          </p:nvPr>
        </p:nvSpPr>
        <p:spPr>
          <a:xfrm>
            <a:off x="6248400" y="3352800"/>
            <a:ext cx="2590800" cy="2895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152396" indent="-152396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4"/>
          </p:nvPr>
        </p:nvSpPr>
        <p:spPr>
          <a:xfrm>
            <a:off x="3352800" y="3352800"/>
            <a:ext cx="2590800" cy="2895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152396" indent="-152396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381000" y="3352800"/>
            <a:ext cx="2590800" cy="2895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152396" indent="-152396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81000" y="3276600"/>
            <a:ext cx="25908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352800" y="3276600"/>
            <a:ext cx="25908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248400" y="3276600"/>
            <a:ext cx="25908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9"/>
          <p:cNvSpPr>
            <a:spLocks noGrp="1"/>
          </p:cNvSpPr>
          <p:nvPr>
            <p:ph sz="quarter" idx="16"/>
          </p:nvPr>
        </p:nvSpPr>
        <p:spPr>
          <a:xfrm>
            <a:off x="9220200" y="3352800"/>
            <a:ext cx="2590800" cy="2895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152396" indent="-152396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9220200" y="3276600"/>
            <a:ext cx="25908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21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381000" y="1447800"/>
            <a:ext cx="2590800" cy="16764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2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52800" y="1447800"/>
            <a:ext cx="2590800" cy="16764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248400" y="1447800"/>
            <a:ext cx="2590800" cy="16764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4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144000" y="1447800"/>
            <a:ext cx="2590800" cy="16764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77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bkgd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957" y="1298887"/>
            <a:ext cx="12187076" cy="243043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438400" cy="2209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152396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-863669" y="5013960"/>
            <a:ext cx="2560320" cy="0"/>
          </a:xfrm>
          <a:prstGeom prst="line">
            <a:avLst/>
          </a:prstGeom>
          <a:ln w="635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rot="5400000">
            <a:off x="2108131" y="5013960"/>
            <a:ext cx="2560320" cy="0"/>
          </a:xfrm>
          <a:prstGeom prst="line">
            <a:avLst/>
          </a:prstGeom>
          <a:ln w="635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>
            <a:off x="4968240" y="5013960"/>
            <a:ext cx="2560320" cy="0"/>
          </a:xfrm>
          <a:prstGeom prst="line">
            <a:avLst/>
          </a:prstGeom>
          <a:ln w="635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7940040" y="5013960"/>
            <a:ext cx="2560320" cy="0"/>
          </a:xfrm>
          <a:prstGeom prst="line">
            <a:avLst/>
          </a:prstGeom>
          <a:ln w="635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9"/>
          <p:cNvSpPr>
            <a:spLocks noGrp="1"/>
          </p:cNvSpPr>
          <p:nvPr>
            <p:ph sz="quarter" idx="12"/>
          </p:nvPr>
        </p:nvSpPr>
        <p:spPr>
          <a:xfrm>
            <a:off x="6248400" y="1600200"/>
            <a:ext cx="5562600" cy="182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240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16"/>
          </p:nvPr>
        </p:nvSpPr>
        <p:spPr>
          <a:xfrm>
            <a:off x="3505200" y="4038600"/>
            <a:ext cx="2438400" cy="2209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152396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Content Placeholder 9"/>
          <p:cNvSpPr>
            <a:spLocks noGrp="1"/>
          </p:cNvSpPr>
          <p:nvPr>
            <p:ph sz="quarter" idx="17"/>
          </p:nvPr>
        </p:nvSpPr>
        <p:spPr>
          <a:xfrm>
            <a:off x="6400800" y="4038600"/>
            <a:ext cx="2438400" cy="2209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152396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18"/>
          </p:nvPr>
        </p:nvSpPr>
        <p:spPr>
          <a:xfrm>
            <a:off x="9372600" y="4038600"/>
            <a:ext cx="2438400" cy="2209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08080"/>
              </a:buClr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152396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3733800"/>
            <a:ext cx="12192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0" y="1295400"/>
            <a:ext cx="12192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381000" y="1447800"/>
            <a:ext cx="5638800" cy="21336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4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s bkgd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9"/>
          <p:cNvSpPr>
            <a:spLocks noGrp="1"/>
          </p:cNvSpPr>
          <p:nvPr>
            <p:ph sz="quarter" idx="12"/>
          </p:nvPr>
        </p:nvSpPr>
        <p:spPr>
          <a:xfrm>
            <a:off x="381000" y="2057400"/>
            <a:ext cx="3505200" cy="2514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1867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333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3" name="Content Placeholder 9"/>
          <p:cNvSpPr>
            <a:spLocks noGrp="1"/>
          </p:cNvSpPr>
          <p:nvPr>
            <p:ph sz="quarter" idx="13"/>
          </p:nvPr>
        </p:nvSpPr>
        <p:spPr>
          <a:xfrm>
            <a:off x="83058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4"/>
          </p:nvPr>
        </p:nvSpPr>
        <p:spPr>
          <a:xfrm>
            <a:off x="43434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/>
          </p:nvPr>
        </p:nvSpPr>
        <p:spPr>
          <a:xfrm>
            <a:off x="381000" y="4876800"/>
            <a:ext cx="3505200" cy="1447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2pPr>
            <a:lvl3pPr marL="380990" indent="0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None/>
              <a:defRPr sz="1467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81000" y="4800600"/>
            <a:ext cx="35052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343400" y="4800600"/>
            <a:ext cx="35052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8305800" y="4800600"/>
            <a:ext cx="35052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9"/>
          <p:cNvSpPr>
            <a:spLocks noGrp="1"/>
          </p:cNvSpPr>
          <p:nvPr>
            <p:ph sz="quarter" idx="16"/>
          </p:nvPr>
        </p:nvSpPr>
        <p:spPr>
          <a:xfrm>
            <a:off x="4343400" y="2057400"/>
            <a:ext cx="3505200" cy="2514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1867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333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7"/>
          </p:nvPr>
        </p:nvSpPr>
        <p:spPr>
          <a:xfrm>
            <a:off x="8305800" y="2057400"/>
            <a:ext cx="3505200" cy="2514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1600"/>
              </a:spcBef>
              <a:buClrTx/>
              <a:buNone/>
              <a:defRPr sz="1867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•"/>
              <a:defRPr sz="1467">
                <a:solidFill>
                  <a:schemeClr val="tx2"/>
                </a:solidFill>
              </a:defRPr>
            </a:lvl2pPr>
            <a:lvl3pPr marL="609585" indent="-228594">
              <a:lnSpc>
                <a:spcPct val="10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–"/>
              <a:defRPr sz="1333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381000" y="990600"/>
            <a:ext cx="3505200" cy="106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2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4343400" y="990600"/>
            <a:ext cx="3505200" cy="106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8305800" y="990600"/>
            <a:ext cx="3505200" cy="106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None/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75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26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45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42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3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5301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63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70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blue wave bkg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39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ave bkg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669" y="914400"/>
            <a:ext cx="12190476" cy="51936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BA8053-479B-4C01-B24C-C1B14073B37A}"/>
              </a:ext>
            </a:extLst>
          </p:cNvPr>
          <p:cNvSpPr txBox="1"/>
          <p:nvPr userDrawn="1"/>
        </p:nvSpPr>
        <p:spPr>
          <a:xfrm>
            <a:off x="872411" y="6650097"/>
            <a:ext cx="1985844" cy="12311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dirty="0">
                <a:solidFill>
                  <a:schemeClr val="bg2"/>
                </a:solidFill>
              </a:rPr>
              <a:t>Dell EMC and Partner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962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kgd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1000" y="533401"/>
            <a:ext cx="5410200" cy="11818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4267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381000" y="1807799"/>
            <a:ext cx="54102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7010400" y="990600"/>
            <a:ext cx="4800600" cy="502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400">
                <a:solidFill>
                  <a:schemeClr val="tx2"/>
                </a:solidFill>
              </a:defRPr>
            </a:lvl1pPr>
            <a:lvl2pPr marL="455073" indent="-224361">
              <a:lnSpc>
                <a:spcPct val="100000"/>
              </a:lnSpc>
              <a:spcBef>
                <a:spcPts val="400"/>
              </a:spcBef>
              <a:defRPr sz="1867">
                <a:solidFill>
                  <a:schemeClr val="tx2"/>
                </a:solidFill>
              </a:defRPr>
            </a:lvl2pPr>
            <a:lvl3pPr marL="836063" indent="-222245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7155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kgd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1000" y="533401"/>
            <a:ext cx="5410200" cy="11818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4267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381000" y="1807799"/>
            <a:ext cx="54102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762000" y="2514600"/>
            <a:ext cx="3352800" cy="3352800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3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2400"/>
              </a:spcBef>
              <a:buNone/>
              <a:defRPr sz="2133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  <a:lvl2pPr marL="455073" indent="-224361">
              <a:lnSpc>
                <a:spcPct val="100000"/>
              </a:lnSpc>
              <a:spcBef>
                <a:spcPts val="400"/>
              </a:spcBef>
              <a:defRPr sz="1867">
                <a:solidFill>
                  <a:schemeClr val="tx2"/>
                </a:solidFill>
              </a:defRPr>
            </a:lvl2pPr>
            <a:lvl3pPr marL="836063" indent="-222245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6"/>
          <p:cNvSpPr>
            <a:spLocks noGrp="1"/>
          </p:cNvSpPr>
          <p:nvPr>
            <p:ph sz="quarter" idx="11"/>
          </p:nvPr>
        </p:nvSpPr>
        <p:spPr>
          <a:xfrm>
            <a:off x="4419600" y="2514600"/>
            <a:ext cx="3352800" cy="3352800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3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2400"/>
              </a:spcBef>
              <a:buNone/>
              <a:defRPr sz="2133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  <a:lvl2pPr marL="455073" indent="-224361">
              <a:lnSpc>
                <a:spcPct val="100000"/>
              </a:lnSpc>
              <a:spcBef>
                <a:spcPts val="400"/>
              </a:spcBef>
              <a:defRPr sz="1867">
                <a:solidFill>
                  <a:schemeClr val="tx2"/>
                </a:solidFill>
              </a:defRPr>
            </a:lvl2pPr>
            <a:lvl3pPr marL="836063" indent="-222245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8077200" y="2514600"/>
            <a:ext cx="3352800" cy="3352800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3"/>
            </a:solidFill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2400"/>
              </a:spcBef>
              <a:buNone/>
              <a:defRPr sz="2133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  <a:lvl2pPr marL="455073" indent="-224361">
              <a:lnSpc>
                <a:spcPct val="100000"/>
              </a:lnSpc>
              <a:spcBef>
                <a:spcPts val="400"/>
              </a:spcBef>
              <a:defRPr sz="1867">
                <a:solidFill>
                  <a:schemeClr val="tx2"/>
                </a:solidFill>
              </a:defRPr>
            </a:lvl2pPr>
            <a:lvl3pPr marL="836063" indent="-222245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467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811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kgd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0"/>
          </p:nvPr>
        </p:nvSpPr>
        <p:spPr>
          <a:xfrm>
            <a:off x="381000" y="2493599"/>
            <a:ext cx="5715000" cy="3276600"/>
          </a:xfrm>
          <a:prstGeom prst="rect">
            <a:avLst/>
          </a:prstGeom>
          <a:noFill/>
        </p:spPr>
        <p:txBody>
          <a:bodyPr lIns="0" tIns="0" rIns="0" bIns="0"/>
          <a:lstStyle>
            <a:lvl1pPr marL="230712" indent="-230712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685783" indent="-22436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867">
                <a:solidFill>
                  <a:schemeClr val="tx2"/>
                </a:solidFill>
              </a:defRPr>
            </a:lvl2pPr>
            <a:lvl3pPr marL="1066773" indent="-222245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67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533401"/>
            <a:ext cx="5715000" cy="11818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4267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81000" y="1807799"/>
            <a:ext cx="5715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47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13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93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18043" y="2442748"/>
            <a:ext cx="7820891" cy="198344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lnSpc>
                <a:spcPts val="7466"/>
              </a:lnSpc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518043" y="4648757"/>
            <a:ext cx="7820891" cy="103755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3271" y="6011301"/>
            <a:ext cx="3485997" cy="4531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65A81A-0A88-C040-809D-F6270D699E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230" y="387033"/>
            <a:ext cx="2807937" cy="183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12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278828"/>
      </p:ext>
    </p:extLst>
  </p:cSld>
  <p:clrMapOvr>
    <a:masterClrMapping/>
  </p:clrMapOvr>
  <p:transition spd="med">
    <p:wipe dir="r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0E544F-1555-DC41-95A1-F7571B8F56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ssion agenda/objectives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56FC2D9-82AD-9647-A6A6-7803EFDDD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12763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7147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00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8010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907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593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6002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6129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2149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8923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9050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54102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4157" y="1295400"/>
            <a:ext cx="5436844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053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672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82296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11702" indent="-154513">
              <a:buClr>
                <a:srgbClr val="808080"/>
              </a:buClr>
              <a:tabLst/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8891" indent="-154513">
              <a:buClr>
                <a:srgbClr val="808080"/>
              </a:buClr>
              <a:tabLst/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02956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4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12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A448E78-BB6A-4891-93A9-E7A1D503C381}"/>
              </a:ext>
            </a:extLst>
          </p:cNvPr>
          <p:cNvSpPr/>
          <p:nvPr userDrawn="1"/>
        </p:nvSpPr>
        <p:spPr>
          <a:xfrm>
            <a:off x="4158664" y="0"/>
            <a:ext cx="8033336" cy="6858000"/>
          </a:xfrm>
          <a:prstGeom prst="rect">
            <a:avLst/>
          </a:prstGeom>
          <a:solidFill>
            <a:srgbClr val="0076CE"/>
          </a:solidFill>
          <a:ln>
            <a:solidFill>
              <a:srgbClr val="007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5C27E99-01FC-4B19-A68E-F297DC2919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158664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2D0F844-9707-4CBE-BEE1-054C1A8D49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49" y="304800"/>
            <a:ext cx="3541136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all to Actio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983892F-1EAD-45BF-81D4-68C2E4C78B41}"/>
              </a:ext>
            </a:extLst>
          </p:cNvPr>
          <p:cNvSpPr/>
          <p:nvPr userDrawn="1"/>
        </p:nvSpPr>
        <p:spPr>
          <a:xfrm>
            <a:off x="3885175" y="1220373"/>
            <a:ext cx="487679" cy="487679"/>
          </a:xfrm>
          <a:prstGeom prst="ellipse">
            <a:avLst/>
          </a:prstGeom>
          <a:solidFill>
            <a:schemeClr val="tx2"/>
          </a:solidFill>
          <a:ln w="28575">
            <a:solidFill>
              <a:srgbClr val="007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85AA6FD-7331-4610-B099-233B1BF4EB7E}"/>
              </a:ext>
            </a:extLst>
          </p:cNvPr>
          <p:cNvSpPr/>
          <p:nvPr userDrawn="1"/>
        </p:nvSpPr>
        <p:spPr>
          <a:xfrm>
            <a:off x="3885175" y="3316486"/>
            <a:ext cx="487679" cy="487679"/>
          </a:xfrm>
          <a:prstGeom prst="ellipse">
            <a:avLst/>
          </a:prstGeom>
          <a:solidFill>
            <a:schemeClr val="tx2"/>
          </a:solidFill>
          <a:ln w="28575">
            <a:solidFill>
              <a:srgbClr val="007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7D7D435-911F-4137-A3C9-E9582DB93202}"/>
              </a:ext>
            </a:extLst>
          </p:cNvPr>
          <p:cNvSpPr/>
          <p:nvPr userDrawn="1"/>
        </p:nvSpPr>
        <p:spPr>
          <a:xfrm>
            <a:off x="3885175" y="5412598"/>
            <a:ext cx="487679" cy="487679"/>
          </a:xfrm>
          <a:prstGeom prst="ellipse">
            <a:avLst/>
          </a:prstGeom>
          <a:solidFill>
            <a:schemeClr val="tx2"/>
          </a:solidFill>
          <a:ln w="28575">
            <a:solidFill>
              <a:srgbClr val="007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8B3EE3-A8C1-44C9-A861-ADE7B5941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3465" y="1206318"/>
            <a:ext cx="7208916" cy="555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D586A462-B0F5-4B3C-96D6-93D0CB5FAE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465" y="3314134"/>
            <a:ext cx="7208916" cy="555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913252B-C30E-4819-824C-8B0D9C99EC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03465" y="5428524"/>
            <a:ext cx="7208916" cy="5557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2B64A26-5215-4122-AF63-88872D51EC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477" y="5619577"/>
            <a:ext cx="1379331" cy="90019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1E40B1F-1724-4207-A558-EEC1D9CC27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25" name="TextBox 19">
            <a:extLst>
              <a:ext uri="{FF2B5EF4-FFF2-40B4-BE49-F238E27FC236}">
                <a16:creationId xmlns:a16="http://schemas.microsoft.com/office/drawing/2014/main" id="{C7807517-D1AD-41EF-8C5D-356EB24F6E63}"/>
              </a:ext>
            </a:extLst>
          </p:cNvPr>
          <p:cNvSpPr txBox="1"/>
          <p:nvPr userDrawn="1"/>
        </p:nvSpPr>
        <p:spPr>
          <a:xfrm>
            <a:off x="369116" y="65317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TextBox 16">
            <a:extLst>
              <a:ext uri="{FF2B5EF4-FFF2-40B4-BE49-F238E27FC236}">
                <a16:creationId xmlns:a16="http://schemas.microsoft.com/office/drawing/2014/main" id="{FE9FE909-D181-4A29-B001-5ABDCC672E1C}"/>
              </a:ext>
            </a:extLst>
          </p:cNvPr>
          <p:cNvSpPr txBox="1"/>
          <p:nvPr userDrawn="1"/>
        </p:nvSpPr>
        <p:spPr>
          <a:xfrm>
            <a:off x="524067" y="6531718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6663D051-5095-4CF7-B0CB-054D1AE64984}"/>
              </a:ext>
            </a:extLst>
          </p:cNvPr>
          <p:cNvSpPr txBox="1"/>
          <p:nvPr userDrawn="1"/>
        </p:nvSpPr>
        <p:spPr>
          <a:xfrm>
            <a:off x="893105" y="65306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06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949" y="32951"/>
            <a:ext cx="10607040" cy="576651"/>
          </a:xfrm>
          <a:prstGeom prst="rect">
            <a:avLst/>
          </a:prstGeom>
        </p:spPr>
        <p:txBody>
          <a:bodyPr lIns="0" rIns="0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108510043"/>
      </p:ext>
    </p:extLst>
  </p:cSld>
  <p:clrMapOvr>
    <a:masterClrMapping/>
  </p:clrMapOvr>
  <p:transition spd="med">
    <p:wipe dir="r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1BE55BF-1B37-4001-B933-FD0D47077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3336" y="0"/>
            <a:ext cx="415866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6F63437-F4A8-44CB-A757-F72FB9BB78FA}"/>
              </a:ext>
            </a:extLst>
          </p:cNvPr>
          <p:cNvSpPr/>
          <p:nvPr userDrawn="1"/>
        </p:nvSpPr>
        <p:spPr>
          <a:xfrm>
            <a:off x="2" y="0"/>
            <a:ext cx="9034071" cy="6858000"/>
          </a:xfrm>
          <a:prstGeom prst="rect">
            <a:avLst/>
          </a:prstGeom>
          <a:solidFill>
            <a:srgbClr val="0076CE"/>
          </a:solidFill>
          <a:ln>
            <a:solidFill>
              <a:srgbClr val="007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03C3E07-C357-4C67-88AC-3947F66DBF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49" y="304800"/>
            <a:ext cx="644384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Resourc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725BE92-3381-4D89-BDF3-1ABE6F81BC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3319" y="1484074"/>
            <a:ext cx="3322191" cy="4030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email address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A2786BD8-78A6-4C6C-BD5B-F26EA4208E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3319" y="3287993"/>
            <a:ext cx="3322191" cy="4030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ocument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2B7F73B-1F88-4C74-B652-509A03CBB6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319" y="5062639"/>
            <a:ext cx="3322191" cy="4030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raining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B019340-BFE3-4099-B183-736EEF541B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50390" y="1484074"/>
            <a:ext cx="3322191" cy="4030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playbook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9D0D4E4F-FFC6-44F1-A9F8-5A269B7E30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50390" y="3287993"/>
            <a:ext cx="3322191" cy="4030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websit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5614610-AA5A-476B-B35C-68F329FFF0A6}"/>
              </a:ext>
            </a:extLst>
          </p:cNvPr>
          <p:cNvGrpSpPr/>
          <p:nvPr userDrawn="1"/>
        </p:nvGrpSpPr>
        <p:grpSpPr>
          <a:xfrm>
            <a:off x="385938" y="1411122"/>
            <a:ext cx="607485" cy="607485"/>
            <a:chOff x="289453" y="1058341"/>
            <a:chExt cx="455614" cy="45561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7191A36-573B-4F21-B637-330DA7D93BA5}"/>
                </a:ext>
              </a:extLst>
            </p:cNvPr>
            <p:cNvSpPr/>
            <p:nvPr userDrawn="1"/>
          </p:nvSpPr>
          <p:spPr>
            <a:xfrm>
              <a:off x="289453" y="1058341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8" name="Graphic 7" descr="Envelope">
              <a:extLst>
                <a:ext uri="{FF2B5EF4-FFF2-40B4-BE49-F238E27FC236}">
                  <a16:creationId xmlns:a16="http://schemas.microsoft.com/office/drawing/2014/main" id="{0FB4EB7D-8371-4B67-B498-57D9E6BA75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0980" y="1109868"/>
              <a:ext cx="352560" cy="35256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B35CAC1-F382-46EB-9833-AD0425B1800B}"/>
              </a:ext>
            </a:extLst>
          </p:cNvPr>
          <p:cNvGrpSpPr/>
          <p:nvPr userDrawn="1"/>
        </p:nvGrpSpPr>
        <p:grpSpPr>
          <a:xfrm>
            <a:off x="385938" y="3185768"/>
            <a:ext cx="607485" cy="607485"/>
            <a:chOff x="289453" y="2389326"/>
            <a:chExt cx="455614" cy="45561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AECA0EA-0F17-483B-98DE-747692F8EFE5}"/>
                </a:ext>
              </a:extLst>
            </p:cNvPr>
            <p:cNvSpPr/>
            <p:nvPr userDrawn="1"/>
          </p:nvSpPr>
          <p:spPr>
            <a:xfrm>
              <a:off x="289453" y="2389326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14" name="Graphic 13" descr="Document">
              <a:extLst>
                <a:ext uri="{FF2B5EF4-FFF2-40B4-BE49-F238E27FC236}">
                  <a16:creationId xmlns:a16="http://schemas.microsoft.com/office/drawing/2014/main" id="{25A94BA2-C990-4E6E-8AC7-F5EBA0F693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5017" y="2464890"/>
              <a:ext cx="304486" cy="304486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798784-6B5C-426E-913B-0AD6BA3D2EA7}"/>
              </a:ext>
            </a:extLst>
          </p:cNvPr>
          <p:cNvGrpSpPr/>
          <p:nvPr userDrawn="1"/>
        </p:nvGrpSpPr>
        <p:grpSpPr>
          <a:xfrm>
            <a:off x="385938" y="4960414"/>
            <a:ext cx="607485" cy="607485"/>
            <a:chOff x="289453" y="3720310"/>
            <a:chExt cx="455614" cy="45561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447745-ECDD-421E-A950-E1B55E5466DE}"/>
                </a:ext>
              </a:extLst>
            </p:cNvPr>
            <p:cNvSpPr/>
            <p:nvPr userDrawn="1"/>
          </p:nvSpPr>
          <p:spPr>
            <a:xfrm>
              <a:off x="289453" y="3720310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22" name="Graphic 21" descr="Teacher">
              <a:extLst>
                <a:ext uri="{FF2B5EF4-FFF2-40B4-BE49-F238E27FC236}">
                  <a16:creationId xmlns:a16="http://schemas.microsoft.com/office/drawing/2014/main" id="{25F9760B-A597-4872-9A8A-35EB2D5B8C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7012" y="3767869"/>
              <a:ext cx="360496" cy="360496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AA72116-76F4-4C5E-BDF3-26E7B4F111AF}"/>
              </a:ext>
            </a:extLst>
          </p:cNvPr>
          <p:cNvGrpSpPr/>
          <p:nvPr userDrawn="1"/>
        </p:nvGrpSpPr>
        <p:grpSpPr>
          <a:xfrm>
            <a:off x="4732303" y="1411122"/>
            <a:ext cx="607485" cy="607485"/>
            <a:chOff x="3646662" y="1058341"/>
            <a:chExt cx="455614" cy="455614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1D3C337-D3F2-455C-BE62-DA7F1672A2E2}"/>
                </a:ext>
              </a:extLst>
            </p:cNvPr>
            <p:cNvSpPr/>
            <p:nvPr userDrawn="1"/>
          </p:nvSpPr>
          <p:spPr>
            <a:xfrm>
              <a:off x="3646662" y="1058341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24" name="Graphic 23" descr="Playbook">
              <a:extLst>
                <a:ext uri="{FF2B5EF4-FFF2-40B4-BE49-F238E27FC236}">
                  <a16:creationId xmlns:a16="http://schemas.microsoft.com/office/drawing/2014/main" id="{2E9D8F3F-92AA-429E-8F59-B0E3762635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79466" y="1091145"/>
              <a:ext cx="390006" cy="39000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F8C200-9889-47D3-B297-2457EEC93B22}"/>
              </a:ext>
            </a:extLst>
          </p:cNvPr>
          <p:cNvGrpSpPr/>
          <p:nvPr userDrawn="1"/>
        </p:nvGrpSpPr>
        <p:grpSpPr>
          <a:xfrm>
            <a:off x="4732303" y="3185768"/>
            <a:ext cx="607485" cy="607485"/>
            <a:chOff x="3646662" y="2389326"/>
            <a:chExt cx="455614" cy="455614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90B4528-6E6B-4A2B-9FB0-69DE417838F7}"/>
                </a:ext>
              </a:extLst>
            </p:cNvPr>
            <p:cNvSpPr/>
            <p:nvPr userDrawn="1"/>
          </p:nvSpPr>
          <p:spPr>
            <a:xfrm>
              <a:off x="3646662" y="2389326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26" name="Graphic 25" descr="Link">
              <a:extLst>
                <a:ext uri="{FF2B5EF4-FFF2-40B4-BE49-F238E27FC236}">
                  <a16:creationId xmlns:a16="http://schemas.microsoft.com/office/drawing/2014/main" id="{CE66CF0B-2637-40EE-980A-11910BEC60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2742" y="2435405"/>
              <a:ext cx="363454" cy="363454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B15A212-3BCC-4DDB-A393-89F5EA790FA4}"/>
              </a:ext>
            </a:extLst>
          </p:cNvPr>
          <p:cNvGrpSpPr/>
          <p:nvPr userDrawn="1"/>
        </p:nvGrpSpPr>
        <p:grpSpPr>
          <a:xfrm>
            <a:off x="4732303" y="4960414"/>
            <a:ext cx="607485" cy="607485"/>
            <a:chOff x="3646662" y="3720310"/>
            <a:chExt cx="455614" cy="45561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EE16FD4-845B-4A55-ABCD-6116F49C9F2B}"/>
                </a:ext>
              </a:extLst>
            </p:cNvPr>
            <p:cNvSpPr/>
            <p:nvPr userDrawn="1"/>
          </p:nvSpPr>
          <p:spPr>
            <a:xfrm>
              <a:off x="3646662" y="3720310"/>
              <a:ext cx="455614" cy="45561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rgbClr val="0076CE"/>
                </a:solidFill>
              </a:endParaRPr>
            </a:p>
          </p:txBody>
        </p:sp>
        <p:pic>
          <p:nvPicPr>
            <p:cNvPr id="28" name="Graphic 27" descr="Books">
              <a:extLst>
                <a:ext uri="{FF2B5EF4-FFF2-40B4-BE49-F238E27FC236}">
                  <a16:creationId xmlns:a16="http://schemas.microsoft.com/office/drawing/2014/main" id="{4374A189-692B-4250-B011-F260E1329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92742" y="3758156"/>
              <a:ext cx="363454" cy="363454"/>
            </a:xfrm>
            <a:prstGeom prst="rect">
              <a:avLst/>
            </a:prstGeom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9F9E1AA3-F442-4ACC-956E-84390726F9D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0820" y="145474"/>
            <a:ext cx="2281773" cy="148915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54F01D5-B51D-42A5-92C5-CEAC9EB8F5A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38" name="TextBox 19">
            <a:extLst>
              <a:ext uri="{FF2B5EF4-FFF2-40B4-BE49-F238E27FC236}">
                <a16:creationId xmlns:a16="http://schemas.microsoft.com/office/drawing/2014/main" id="{93441DAD-3A56-4C85-82F9-77C09A4FEE51}"/>
              </a:ext>
            </a:extLst>
          </p:cNvPr>
          <p:cNvSpPr txBox="1"/>
          <p:nvPr userDrawn="1"/>
        </p:nvSpPr>
        <p:spPr>
          <a:xfrm>
            <a:off x="369116" y="65317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" name="TextBox 16">
            <a:extLst>
              <a:ext uri="{FF2B5EF4-FFF2-40B4-BE49-F238E27FC236}">
                <a16:creationId xmlns:a16="http://schemas.microsoft.com/office/drawing/2014/main" id="{FA50E550-867F-4329-96C4-E78760E194C3}"/>
              </a:ext>
            </a:extLst>
          </p:cNvPr>
          <p:cNvSpPr txBox="1"/>
          <p:nvPr userDrawn="1"/>
        </p:nvSpPr>
        <p:spPr>
          <a:xfrm>
            <a:off x="524067" y="6531718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4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786B758C-8EC1-42B9-B1FD-4B1344CAC5D0}"/>
              </a:ext>
            </a:extLst>
          </p:cNvPr>
          <p:cNvSpPr txBox="1"/>
          <p:nvPr userDrawn="1"/>
        </p:nvSpPr>
        <p:spPr>
          <a:xfrm>
            <a:off x="893105" y="65306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9316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802EED9-E785-4C60-ABFD-62F3DEE98D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BC3F5CF-AFE7-4B69-BA02-07B01CE36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all to A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B6295-9341-4198-8060-4498C7E31EDA}"/>
              </a:ext>
            </a:extLst>
          </p:cNvPr>
          <p:cNvSpPr txBox="1"/>
          <p:nvPr userDrawn="1"/>
        </p:nvSpPr>
        <p:spPr>
          <a:xfrm>
            <a:off x="243826" y="1389877"/>
            <a:ext cx="119051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688099-8F0F-4578-9964-049E407641D5}"/>
              </a:ext>
            </a:extLst>
          </p:cNvPr>
          <p:cNvSpPr txBox="1"/>
          <p:nvPr userDrawn="1"/>
        </p:nvSpPr>
        <p:spPr>
          <a:xfrm>
            <a:off x="243826" y="3164424"/>
            <a:ext cx="119051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C52539-3C4B-4E02-8FAD-AE96A6D12CE0}"/>
              </a:ext>
            </a:extLst>
          </p:cNvPr>
          <p:cNvSpPr txBox="1"/>
          <p:nvPr userDrawn="1"/>
        </p:nvSpPr>
        <p:spPr>
          <a:xfrm>
            <a:off x="243825" y="4938971"/>
            <a:ext cx="119051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</a:rPr>
              <a:t>3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2CFAC80-2197-4EBA-A341-AB107EA83BE3}"/>
              </a:ext>
            </a:extLst>
          </p:cNvPr>
          <p:cNvCxnSpPr/>
          <p:nvPr userDrawn="1"/>
        </p:nvCxnSpPr>
        <p:spPr>
          <a:xfrm>
            <a:off x="1276575" y="2892704"/>
            <a:ext cx="1009784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7B1F6F5-B1A5-45E2-9CCD-9D66825CBED9}"/>
              </a:ext>
            </a:extLst>
          </p:cNvPr>
          <p:cNvCxnSpPr/>
          <p:nvPr userDrawn="1"/>
        </p:nvCxnSpPr>
        <p:spPr>
          <a:xfrm>
            <a:off x="1276575" y="4667251"/>
            <a:ext cx="1009784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68C8655-FF63-4B3F-8E61-66E0E817C5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284" y="1564218"/>
            <a:ext cx="10081683" cy="117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2CAD0E2-AD26-4B6A-92C7-64705A68C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09464" y="3187631"/>
            <a:ext cx="10081683" cy="117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8D7DCE6-3E9B-465C-B2A6-DC3630343F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9464" y="4967150"/>
            <a:ext cx="10081683" cy="117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tx2"/>
                </a:solidFill>
              </a:defRPr>
            </a:lvl1pPr>
            <a:lvl2pPr marL="457189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7C6BC6D-A555-4A67-AA86-170755ACAF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02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86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40C2D48-B7CB-8245-8339-EEABAF65F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65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72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49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ave bkg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669" y="914400"/>
            <a:ext cx="12190476" cy="51936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37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51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logo slide gra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1BE50EE-EBF0-0B4C-90F0-EA9212D665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767" y="1582235"/>
            <a:ext cx="5659447" cy="3693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9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517827"/>
      </p:ext>
    </p:extLst>
  </p:cSld>
  <p:clrMapOvr>
    <a:masterClrMapping/>
  </p:clrMapOvr>
  <p:transition spd="med">
    <p:wipe dir="r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7"/>
            <a:ext cx="10607040" cy="630103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0726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8" y="362515"/>
            <a:ext cx="11470643" cy="85344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a 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46151F-99DD-4FDA-AA10-D2B5DCF863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65758" y="1703917"/>
            <a:ext cx="11470643" cy="4569883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buNone/>
              <a:defRPr lang="en-US" sz="2400" dirty="0">
                <a:solidFill>
                  <a:srgbClr val="000000"/>
                </a:solidFill>
                <a:latin typeface="+mn-lt"/>
                <a:ea typeface="Arial"/>
                <a:cs typeface="+mn-cs"/>
              </a:defRPr>
            </a:lvl1pPr>
            <a:lvl2pPr marL="766214" indent="-31114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>
                <a:latin typeface="+mn-lt"/>
                <a:ea typeface="Arial"/>
              </a:defRPr>
            </a:lvl2pPr>
            <a:lvl3pPr marL="1145089" indent="-22647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67"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add text. Click an icon to add specific conte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757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50B6821-860E-4B62-B238-58701B77E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1472672" cy="853440"/>
          </a:xfrm>
          <a:prstGeom prst="rect">
            <a:avLst/>
          </a:prstGeom>
        </p:spPr>
        <p:txBody>
          <a:bodyPr lIns="0" rIns="0" anchor="b" anchorCtr="0">
            <a:normAutofit/>
          </a:bodyPr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a tit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B348E8C-EBC4-476F-B782-A1825C5AC0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ell EMC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514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4461" cy="6870635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7110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09105"/>
      </p:ext>
    </p:extLst>
  </p:cSld>
  <p:clrMapOvr>
    <a:masterClrMapping/>
  </p:clrMapOvr>
  <p:transition spd="med">
    <p:wipe dir="r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630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200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30051"/>
      </p:ext>
    </p:extLst>
  </p:cSld>
  <p:clrMapOvr>
    <a:masterClrMapping/>
  </p:clrMapOvr>
  <p:transition spd="med">
    <p:wipe dir="r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4153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052963"/>
      </p:ext>
    </p:extLst>
  </p:cSld>
  <p:clrMapOvr>
    <a:masterClrMapping/>
  </p:clrMapOvr>
  <p:transition spd="med">
    <p:wipe dir="r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572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030961"/>
      </p:ext>
    </p:extLst>
  </p:cSld>
  <p:clrMapOvr>
    <a:masterClrMapping/>
  </p:clrMapOvr>
  <p:transition spd="med">
    <p:wipe dir="r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Car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219386"/>
      </p:ext>
    </p:extLst>
  </p:cSld>
  <p:clrMapOvr>
    <a:masterClrMapping/>
  </p:clrMapOvr>
  <p:transition spd="med">
    <p:wipe dir="r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632256"/>
      </p:ext>
    </p:extLst>
  </p:cSld>
  <p:clrMapOvr>
    <a:masterClrMapping/>
  </p:clrMapOvr>
  <p:transition spd="med"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7" y="352839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18873694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71715"/>
      </p:ext>
    </p:extLst>
  </p:cSld>
  <p:clrMapOvr>
    <a:masterClrMapping/>
  </p:clrMapOvr>
  <p:transition spd="med">
    <p:wipe dir="r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49891190"/>
      </p:ext>
    </p:extLst>
  </p:cSld>
  <p:clrMapOvr>
    <a:masterClrMapping/>
  </p:clrMapOvr>
  <p:transition spd="med">
    <p:wipe dir="r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59" y="1463040"/>
            <a:ext cx="106070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5"/>
            <a:ext cx="10607040" cy="85344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81312554"/>
      </p:ext>
    </p:extLst>
  </p:cSld>
  <p:clrMapOvr>
    <a:masterClrMapping/>
  </p:clrMapOvr>
  <p:transition spd="med">
    <p:wipe dir="r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20697628"/>
      </p:ext>
    </p:extLst>
  </p:cSld>
  <p:clrMapOvr>
    <a:masterClrMapping/>
  </p:clrMapOvr>
  <p:transition spd="med">
    <p:wipe dir="r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0222" y="356940"/>
            <a:ext cx="5713705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0222" y="1706880"/>
            <a:ext cx="5711813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450893"/>
      </p:ext>
    </p:extLst>
  </p:cSld>
  <p:clrMapOvr>
    <a:masterClrMapping/>
  </p:clrMapOvr>
  <p:transition spd="med">
    <p:wipe dir="r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1"/>
            <a:ext cx="6487072" cy="648443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2200"/>
            <a:ext cx="57302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9796876"/>
      </p:ext>
    </p:extLst>
  </p:cSld>
  <p:clrMapOvr>
    <a:masterClrMapping/>
  </p:clrMapOvr>
  <p:transition spd="med">
    <p:wipe dir="r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2"/>
            <a:ext cx="5730240" cy="886396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546195"/>
            <a:ext cx="57302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81969615"/>
      </p:ext>
    </p:extLst>
  </p:cSld>
  <p:clrMapOvr>
    <a:masterClrMapping/>
  </p:clrMapOvr>
  <p:transition spd="med">
    <p:wipe dir="r"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7"/>
            <a:ext cx="10607040" cy="886396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925000000"/>
      </p:ext>
    </p:extLst>
  </p:cSld>
  <p:clrMapOvr>
    <a:masterClrMapping/>
  </p:clrMapOvr>
  <p:transition spd="med">
    <p:wipe dir="r"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1434028"/>
      </p:ext>
    </p:extLst>
  </p:cSld>
  <p:clrMapOvr>
    <a:masterClrMapping/>
  </p:clrMapOvr>
  <p:transition spd="med">
    <p:wipe dir="r"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9040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239680"/>
      </p:ext>
    </p:extLst>
  </p:cSld>
  <p:clrMapOvr>
    <a:masterClrMapping/>
  </p:clrMapOvr>
  <p:transition spd="med">
    <p:wipe dir="r"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288464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2BDF4A00-4E3D-4205-A281-36C0BBEDD7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661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 userDrawn="1">
            <p:ph type="ctrTitle" hasCustomPrompt="1"/>
          </p:nvPr>
        </p:nvSpPr>
        <p:spPr>
          <a:xfrm>
            <a:off x="506958" y="256527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200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6958" y="518181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78F91F7-EF8C-4FA6-85E6-DBC58A2C94C1}"/>
              </a:ext>
            </a:extLst>
          </p:cNvPr>
          <p:cNvGrpSpPr/>
          <p:nvPr userDrawn="1"/>
        </p:nvGrpSpPr>
        <p:grpSpPr>
          <a:xfrm>
            <a:off x="4248522" y="164147"/>
            <a:ext cx="4178328" cy="893118"/>
            <a:chOff x="2540140" y="156008"/>
            <a:chExt cx="4178328" cy="893118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DEAAF9A-00A1-4925-A1C9-8F014D1EC104}"/>
                </a:ext>
              </a:extLst>
            </p:cNvPr>
            <p:cNvCxnSpPr>
              <a:cxnSpLocks/>
            </p:cNvCxnSpPr>
            <p:nvPr/>
          </p:nvCxnSpPr>
          <p:spPr>
            <a:xfrm>
              <a:off x="2815741" y="543682"/>
              <a:ext cx="3627126" cy="0"/>
            </a:xfrm>
            <a:prstGeom prst="line">
              <a:avLst/>
            </a:prstGeom>
            <a:ln w="12700">
              <a:solidFill>
                <a:srgbClr val="FFFFFF">
                  <a:alpha val="35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235BFB9-70E9-4C73-B98D-707F7D538B85}"/>
                </a:ext>
              </a:extLst>
            </p:cNvPr>
            <p:cNvSpPr/>
            <p:nvPr userDrawn="1"/>
          </p:nvSpPr>
          <p:spPr>
            <a:xfrm>
              <a:off x="2540140" y="587461"/>
              <a:ext cx="417832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ing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2543D519-1472-4BE2-ADAB-19E3DCD589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22439" y="156008"/>
              <a:ext cx="2813730" cy="3657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012207"/>
      </p:ext>
    </p:extLst>
  </p:cSld>
  <p:clrMapOvr>
    <a:masterClrMapping/>
  </p:clrMapOvr>
  <p:transition spd="med">
    <p:wipe dir="r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68576"/>
      </p:ext>
    </p:extLst>
  </p:cSld>
  <p:clrMapOvr>
    <a:masterClrMapping/>
  </p:clrMapOvr>
  <p:transition spd="med">
    <p:wipe dir="r"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38354"/>
      </p:ext>
    </p:extLst>
  </p:cSld>
  <p:clrMapOvr>
    <a:masterClrMapping/>
  </p:clrMapOvr>
  <p:transition spd="med">
    <p:wipe dir="r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9948"/>
      </p:ext>
    </p:extLst>
  </p:cSld>
  <p:clrMapOvr>
    <a:masterClrMapping/>
  </p:clrMapOvr>
  <p:transition spd="med">
    <p:wipe dir="r"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88498"/>
      </p:ext>
    </p:extLst>
  </p:cSld>
  <p:clrMapOvr>
    <a:masterClrMapping/>
  </p:clrMapOvr>
  <p:transition spd="med">
    <p:wipe dir="r"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552659"/>
      </p:ext>
    </p:extLst>
  </p:cSld>
  <p:clrMapOvr>
    <a:masterClrMapping/>
  </p:clrMapOvr>
  <p:transition spd="med">
    <p:wipe dir="r"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811480"/>
      </p:ext>
    </p:extLst>
  </p:cSld>
  <p:clrMapOvr>
    <a:masterClrMapping/>
  </p:clrMapOvr>
  <p:transition spd="med">
    <p:wipe dir="r"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43594"/>
      </p:ext>
    </p:extLst>
  </p:cSld>
  <p:clrMapOvr>
    <a:masterClrMapping/>
  </p:clrMapOvr>
  <p:transition spd="med">
    <p:wipe dir="r"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B857-DF8E-4A04-869B-D9109FB25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F4F8F-F8B7-40B3-8A9B-BC4483904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E79FAB-057B-4893-BFED-7DF53EDE2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F9461-A73F-4274-89B2-A910164A29DE}" type="datetime1">
              <a:rPr lang="en-US" smtClean="0"/>
              <a:t>4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9C8B34-AEA0-4E43-A0CF-9B9FE2174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lease Save Slide as “</a:t>
            </a:r>
            <a:r>
              <a:rPr lang="en-US" dirty="0" err="1"/>
              <a:t>CustomerName_Win</a:t>
            </a:r>
            <a:r>
              <a:rPr lang="en-US" dirty="0"/>
              <a:t>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BECC87-95A3-4279-A68B-1A35171F9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E0B5A-C013-4538-A9B4-AFE66CAF82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21175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949" y="32951"/>
            <a:ext cx="10607040" cy="576651"/>
          </a:xfrm>
          <a:prstGeom prst="rect">
            <a:avLst/>
          </a:prstGeom>
        </p:spPr>
        <p:txBody>
          <a:bodyPr lIns="0" rIns="0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507602114"/>
      </p:ext>
    </p:extLst>
  </p:cSld>
  <p:clrMapOvr>
    <a:masterClrMapping/>
  </p:clrMapOvr>
  <p:transition spd="med">
    <p:wipe dir="r"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10565848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80" indent="-309019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34082806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573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153100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811538"/>
      </p:ext>
    </p:extLst>
  </p:cSld>
  <p:clrMapOvr>
    <a:masterClrMapping/>
  </p:clrMapOvr>
  <p:transition spd="med">
    <p:wipe dir="r"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949" y="32951"/>
            <a:ext cx="10607040" cy="576651"/>
          </a:xfrm>
          <a:prstGeom prst="rect">
            <a:avLst/>
          </a:prstGeom>
        </p:spPr>
        <p:txBody>
          <a:bodyPr lIns="0" rIns="0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607707068"/>
      </p:ext>
    </p:extLst>
  </p:cSld>
  <p:clrMapOvr>
    <a:masterClrMapping/>
  </p:clrMapOvr>
  <p:transition spd="med">
    <p:wipe dir="r"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97686"/>
      </p:ext>
    </p:extLst>
  </p:cSld>
  <p:clrMapOvr>
    <a:masterClrMapping/>
  </p:clrMapOvr>
  <p:transition spd="med">
    <p:wipe dir="r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130069"/>
      </p:ext>
    </p:extLst>
  </p:cSld>
  <p:clrMapOvr>
    <a:masterClrMapping/>
  </p:clrMapOvr>
  <p:transition spd="med">
    <p:wipe dir="r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FAC4BC4-8DAD-4AA2-9D15-07BAD9F1602D}" type="datetimeFigureOut">
              <a:rPr lang="en-US" smtClean="0"/>
              <a:t>4/2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3F53DEE-23AB-4BFB-8DCC-0B62C3767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48061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1689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852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79868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51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6934388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1" y="3002845"/>
            <a:ext cx="6934388" cy="410369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5495925" y="1543051"/>
            <a:ext cx="6696075" cy="5324475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800"/>
              </a:spcBef>
            </a:pPr>
            <a:endParaRPr lang="en-US" sz="2667" dirty="0" err="1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>
          <a:xfrm>
            <a:off x="5467351" y="1485901"/>
            <a:ext cx="6762749" cy="5381625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10434311" y="5132256"/>
            <a:ext cx="1364659" cy="1364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7554864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9195999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0" y="3048001"/>
            <a:ext cx="9194800" cy="41043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2" y="6362701"/>
            <a:ext cx="1333500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6" name="Picture 5" descr="dell_blue_lrg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black">
          <a:xfrm>
            <a:off x="11037749" y="5731817"/>
            <a:ext cx="799071" cy="79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392691"/>
      </p:ext>
    </p:extLst>
  </p:cSld>
  <p:clrMapOvr>
    <a:masterClrMapping/>
  </p:clrMapOvr>
  <p:transition spd="med">
    <p:wipe dir="r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824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19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294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672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377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0388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9516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6002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6129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37215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8923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9050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54102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4157" y="1295400"/>
            <a:ext cx="5436844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42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053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672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82296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02956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928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6934388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1" y="3002845"/>
            <a:ext cx="6934388" cy="410369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5495925" y="1543051"/>
            <a:ext cx="6696075" cy="5324475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800"/>
              </a:spcBef>
            </a:pPr>
            <a:endParaRPr lang="en-US" sz="2667" dirty="0" err="1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>
          <a:xfrm>
            <a:off x="5467351" y="1485901"/>
            <a:ext cx="6762749" cy="5381625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10434311" y="5132256"/>
            <a:ext cx="1364659" cy="1364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0088537"/>
      </p:ext>
    </p:extLst>
  </p:cSld>
  <p:clrMapOvr>
    <a:masterClrMapping/>
  </p:clrMapOvr>
  <p:transition spd="med">
    <p:wipe dir="r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791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2244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35995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794" y="3063240"/>
            <a:ext cx="4106415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154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794" y="3063240"/>
            <a:ext cx="4106415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3494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23121340"/>
      </p:ext>
    </p:extLst>
  </p:cSld>
  <p:clrMapOvr>
    <a:masterClrMapping/>
  </p:clrMapOvr>
  <p:transition spd="med">
    <p:wipe dir="r"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61952" y="1703918"/>
            <a:ext cx="10610849" cy="425661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455071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918610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8379298"/>
      </p:ext>
    </p:extLst>
  </p:cSld>
  <p:clrMapOvr>
    <a:masterClrMapping/>
  </p:clrMapOvr>
  <p:transition spd="med">
    <p:wipe dir="r"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0768781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10565848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70082477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59" y="1463040"/>
            <a:ext cx="106070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3"/>
            <a:ext cx="10607040" cy="85344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96757568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82817132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9042" y="365759"/>
            <a:ext cx="5713705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711813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534958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5761"/>
            <a:ext cx="6723663" cy="4431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2200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014101051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65761"/>
            <a:ext cx="5730240" cy="8863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484464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466805187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40705505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8821080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10565848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536923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609600" y="6172200"/>
            <a:ext cx="109728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034" y="6226685"/>
            <a:ext cx="764033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6319" y="6431530"/>
            <a:ext cx="347132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429375"/>
            <a:ext cx="251460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67872" y="261563"/>
            <a:ext cx="10985501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782957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2" y="386303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200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2" y="3002846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0179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876082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7" y="352839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1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80" indent="-309019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31906087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196" indent="-309019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196" indent="-309019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66827667"/>
      </p:ext>
    </p:extLst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8"/>
            <a:ext cx="10607040" cy="886396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104518130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4461" cy="6870635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7110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237715"/>
      </p:ext>
    </p:extLst>
  </p:cSld>
  <p:clrMapOvr>
    <a:masterClrMapping/>
  </p:clrMapOvr>
  <p:transition spd="med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630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200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423645"/>
      </p:ext>
    </p:extLst>
  </p:cSld>
  <p:clrMapOvr>
    <a:masterClrMapping/>
  </p:clrMapOvr>
  <p:transition spd="med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4153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85973"/>
      </p:ext>
    </p:extLst>
  </p:cSld>
  <p:clrMapOvr>
    <a:masterClrMapping/>
  </p:clrMapOvr>
  <p:transition spd="med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572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382203"/>
      </p:ext>
    </p:extLst>
  </p:cSld>
  <p:clrMapOvr>
    <a:masterClrMapping/>
  </p:clrMapOvr>
  <p:transition spd="med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Car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18457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59" y="1463040"/>
            <a:ext cx="106070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3"/>
            <a:ext cx="10607040" cy="85344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2902965"/>
      </p:ext>
    </p:extLst>
  </p:cSld>
  <p:clrMapOvr>
    <a:masterClrMapping/>
  </p:clrMapOvr>
  <p:transition spd="med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99366"/>
      </p:ext>
    </p:extLst>
  </p:cSld>
  <p:clrMapOvr>
    <a:masterClrMapping/>
  </p:clrMapOvr>
  <p:transition spd="med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7" y="352839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6777300"/>
      </p:ext>
    </p:extLst>
  </p:cSld>
  <p:clrMapOvr>
    <a:masterClrMapping/>
  </p:clrMapOvr>
  <p:transition spd="med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05858462"/>
      </p:ext>
    </p:extLst>
  </p:cSld>
  <p:clrMapOvr>
    <a:masterClrMapping/>
  </p:clrMapOvr>
  <p:transition spd="med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59" y="1463040"/>
            <a:ext cx="106070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5"/>
            <a:ext cx="10607040" cy="85344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67048697"/>
      </p:ext>
    </p:extLst>
  </p:cSld>
  <p:clrMapOvr>
    <a:masterClrMapping/>
  </p:clrMapOvr>
  <p:transition spd="med"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46846"/>
      </p:ext>
    </p:extLst>
  </p:cSld>
  <p:clrMapOvr>
    <a:masterClrMapping/>
  </p:clrMapOvr>
  <p:transition spd="med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0222" y="356940"/>
            <a:ext cx="5713705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0222" y="1706880"/>
            <a:ext cx="5711813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2380338"/>
      </p:ext>
    </p:extLst>
  </p:cSld>
  <p:clrMapOvr>
    <a:masterClrMapping/>
  </p:clrMapOvr>
  <p:transition spd="med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1"/>
            <a:ext cx="6487072" cy="648443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2200"/>
            <a:ext cx="57302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45168939"/>
      </p:ext>
    </p:extLst>
  </p:cSld>
  <p:clrMapOvr>
    <a:masterClrMapping/>
  </p:clrMapOvr>
  <p:transition spd="med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2"/>
            <a:ext cx="5730240" cy="886396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546195"/>
            <a:ext cx="5730240" cy="3184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289867709"/>
      </p:ext>
    </p:extLst>
  </p:cSld>
  <p:clrMapOvr>
    <a:masterClrMapping/>
  </p:clrMapOvr>
  <p:transition spd="med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7"/>
            <a:ext cx="10607040" cy="886396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461863481"/>
      </p:ext>
    </p:extLst>
  </p:cSld>
  <p:clrMapOvr>
    <a:masterClrMapping/>
  </p:clrMapOvr>
  <p:transition spd="med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039548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3281992"/>
      </p:ext>
    </p:extLst>
  </p:cSld>
  <p:clrMapOvr>
    <a:masterClrMapping/>
  </p:clrMapOvr>
  <p:transition spd="med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9040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66653"/>
      </p:ext>
    </p:extLst>
  </p:cSld>
  <p:clrMapOvr>
    <a:masterClrMapping/>
  </p:clrMapOvr>
  <p:transition spd="med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790912"/>
      </p:ext>
    </p:extLst>
  </p:cSld>
  <p:clrMapOvr>
    <a:masterClrMapping/>
  </p:clrMapOvr>
  <p:transition spd="med"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824445"/>
      </p:ext>
    </p:extLst>
  </p:cSld>
  <p:clrMapOvr>
    <a:masterClrMapping/>
  </p:clrMapOvr>
  <p:transition spd="med"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908383"/>
      </p:ext>
    </p:extLst>
  </p:cSld>
  <p:clrMapOvr>
    <a:masterClrMapping/>
  </p:clrMapOvr>
  <p:transition spd="med"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60496"/>
      </p:ext>
    </p:extLst>
  </p:cSld>
  <p:clrMapOvr>
    <a:masterClrMapping/>
  </p:clrMapOvr>
  <p:transition spd="med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648906"/>
      </p:ext>
    </p:extLst>
  </p:cSld>
  <p:clrMapOvr>
    <a:masterClrMapping/>
  </p:clrMapOvr>
  <p:transition spd="med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13273"/>
      </p:ext>
    </p:extLst>
  </p:cSld>
  <p:clrMapOvr>
    <a:masterClrMapping/>
  </p:clrMapOvr>
  <p:transition spd="med"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880824"/>
      </p:ext>
    </p:extLst>
  </p:cSld>
  <p:clrMapOvr>
    <a:masterClrMapping/>
  </p:clrMapOvr>
  <p:transition spd="med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60961"/>
      </p:ext>
    </p:extLst>
  </p:cSld>
  <p:clrMapOvr>
    <a:masterClrMapping/>
  </p:clrMapOvr>
  <p:transition spd="med"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B857-DF8E-4A04-869B-D9109FB25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F4F8F-F8B7-40B3-8A9B-BC4483904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E79FAB-057B-4893-BFED-7DF53EDE2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F9461-A73F-4274-89B2-A910164A29DE}" type="datetime1">
              <a:rPr lang="en-US" smtClean="0"/>
              <a:t>4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9C8B34-AEA0-4E43-A0CF-9B9FE2174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lease Save Slide as “</a:t>
            </a:r>
            <a:r>
              <a:rPr lang="en-US" dirty="0" err="1"/>
              <a:t>CustomerName_Win</a:t>
            </a:r>
            <a:r>
              <a:rPr lang="en-US" dirty="0"/>
              <a:t>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BECC87-95A3-4279-A68B-1A35171F9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E0B5A-C013-4538-A9B4-AFE66CAF82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819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9042" y="365759"/>
            <a:ext cx="5713705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711813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672171"/>
      </p:ext>
    </p:extLst>
  </p:cSld>
  <p:clrMapOvr>
    <a:masterClrMapping/>
  </p:clrMapOvr>
  <p:transition spd="med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949" y="32951"/>
            <a:ext cx="10607040" cy="576651"/>
          </a:xfrm>
          <a:prstGeom prst="rect">
            <a:avLst/>
          </a:prstGeom>
        </p:spPr>
        <p:txBody>
          <a:bodyPr lIns="0" rIns="0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012283862"/>
      </p:ext>
    </p:extLst>
  </p:cSld>
  <p:clrMapOvr>
    <a:masterClrMapping/>
  </p:clrMapOvr>
  <p:transition spd="med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10565848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80" indent="-309019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49620533"/>
      </p:ext>
    </p:extLst>
  </p:cSld>
  <p:clrMapOvr>
    <a:masterClrMapping/>
  </p:clrMapOvr>
  <p:transition spd="med"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949" y="32951"/>
            <a:ext cx="10607040" cy="576651"/>
          </a:xfrm>
          <a:prstGeom prst="rect">
            <a:avLst/>
          </a:prstGeom>
        </p:spPr>
        <p:txBody>
          <a:bodyPr lIns="0" rIns="0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067848013"/>
      </p:ext>
    </p:extLst>
  </p:cSld>
  <p:clrMapOvr>
    <a:masterClrMapping/>
  </p:clrMapOvr>
  <p:transition spd="med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571651"/>
      </p:ext>
    </p:extLst>
  </p:cSld>
  <p:clrMapOvr>
    <a:masterClrMapping/>
  </p:clrMapOvr>
  <p:transition spd="med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08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2750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280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13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71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65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5761"/>
            <a:ext cx="6723663" cy="4431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2200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358939367"/>
      </p:ext>
    </p:extLst>
  </p:cSld>
  <p:clrMapOvr>
    <a:masterClrMapping/>
  </p:clrMapOvr>
  <p:transition spd="med"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03" y="5834017"/>
            <a:ext cx="2170176" cy="38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35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44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503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7178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75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9144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99438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6002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612900"/>
            <a:ext cx="5410200" cy="4351339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19105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8923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905001"/>
            <a:ext cx="54102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8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67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54102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4157" y="1295400"/>
            <a:ext cx="5436844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73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053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67200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8229600" y="2057401"/>
            <a:ext cx="3581400" cy="407670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808080"/>
              </a:buClr>
              <a:defRPr lang="en-US" sz="2133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buClr>
                <a:srgbClr val="808080"/>
              </a:buClr>
              <a:defRPr lang="en-US" sz="16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>
              <a:buClr>
                <a:srgbClr val="808080"/>
              </a:buClr>
              <a:defRPr lang="en-US" sz="1400" dirty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</a:lstStyle>
          <a:p>
            <a:pPr lvl="0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</a:pPr>
            <a:r>
              <a:rPr lang="en-US"/>
              <a:t>Thir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02956" y="1295400"/>
            <a:ext cx="3581400" cy="381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06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0714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592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65761"/>
            <a:ext cx="5730240" cy="8863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484464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817586767"/>
      </p:ext>
    </p:extLst>
  </p:cSld>
  <p:clrMapOvr>
    <a:masterClrMapping/>
  </p:clrMapOvr>
  <p:transition spd="med"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792" y="6451386"/>
            <a:ext cx="902208" cy="16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3199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794" y="3063240"/>
            <a:ext cx="4106415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32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gray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794" y="3063240"/>
            <a:ext cx="4106415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100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907336645"/>
      </p:ext>
    </p:extLst>
  </p:cSld>
  <p:clrMapOvr>
    <a:masterClrMapping/>
  </p:clrMapOvr>
  <p:transition spd="med"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8964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9195999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0" y="3048001"/>
            <a:ext cx="9194800" cy="41043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2" y="6362701"/>
            <a:ext cx="1333500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itchFamily="34" charset="0"/>
            </a:endParaRPr>
          </a:p>
        </p:txBody>
      </p:sp>
      <p:pic>
        <p:nvPicPr>
          <p:cNvPr id="6" name="Picture 5" descr="dell_blue_lrg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black">
          <a:xfrm>
            <a:off x="11037749" y="5731817"/>
            <a:ext cx="799071" cy="79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194700"/>
      </p:ext>
    </p:extLst>
  </p:cSld>
  <p:clrMapOvr>
    <a:masterClrMapping/>
  </p:clrMapOvr>
  <p:transition spd="med"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65761"/>
            <a:ext cx="6934388" cy="2215991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bg1"/>
                </a:solidFill>
                <a:latin typeface="Museo Sans For Dell" panose="02000000000000000000" pitchFamily="2" charset="0"/>
                <a:ea typeface="Museo Sans For Dell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365761" y="3002845"/>
            <a:ext cx="6934388" cy="410369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5495925" y="1543051"/>
            <a:ext cx="6696075" cy="5324475"/>
          </a:xfrm>
          <a:custGeom>
            <a:avLst/>
            <a:gdLst>
              <a:gd name="connsiteX0" fmla="*/ 5022056 w 5022056"/>
              <a:gd name="connsiteY0" fmla="*/ 0 h 3993356"/>
              <a:gd name="connsiteX1" fmla="*/ 5022056 w 5022056"/>
              <a:gd name="connsiteY1" fmla="*/ 3993356 h 3993356"/>
              <a:gd name="connsiteX2" fmla="*/ 0 w 5022056"/>
              <a:gd name="connsiteY2" fmla="*/ 3993356 h 3993356"/>
              <a:gd name="connsiteX3" fmla="*/ 5022056 w 5022056"/>
              <a:gd name="connsiteY3" fmla="*/ 0 h 3993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2056" h="3993356">
                <a:moveTo>
                  <a:pt x="5022056" y="0"/>
                </a:moveTo>
                <a:lnTo>
                  <a:pt x="5022056" y="3993356"/>
                </a:lnTo>
                <a:lnTo>
                  <a:pt x="0" y="3993356"/>
                </a:lnTo>
                <a:lnTo>
                  <a:pt x="5022056" y="0"/>
                </a:lnTo>
                <a:close/>
              </a:path>
            </a:pathLst>
          </a:custGeom>
          <a:solidFill>
            <a:srgbClr val="0085C3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800"/>
              </a:spcBef>
            </a:pPr>
            <a:endParaRPr lang="en-US" sz="2667" dirty="0" err="1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>
          <a:xfrm>
            <a:off x="5467351" y="1485901"/>
            <a:ext cx="6762749" cy="5381625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10434311" y="5132256"/>
            <a:ext cx="1364659" cy="1364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6278250"/>
      </p:ext>
    </p:extLst>
  </p:cSld>
  <p:clrMapOvr>
    <a:masterClrMapping/>
  </p:clrMapOvr>
  <p:transition spd="med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10565848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40022476"/>
      </p:ext>
    </p:extLst>
  </p:cSld>
  <p:clrMapOvr>
    <a:masterClrMapping/>
  </p:clrMapOvr>
  <p:transition spd="med"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59" y="1463040"/>
            <a:ext cx="106070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3"/>
            <a:ext cx="10607040" cy="85344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4547216"/>
      </p:ext>
    </p:extLst>
  </p:cSld>
  <p:clrMapOvr>
    <a:masterClrMapping/>
  </p:clrMapOvr>
  <p:transition spd="med"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4836684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586109510"/>
      </p:ext>
    </p:extLst>
  </p:cSld>
  <p:clrMapOvr>
    <a:masterClrMapping/>
  </p:clrMapOvr>
  <p:transition spd="med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9042" y="365759"/>
            <a:ext cx="5713705" cy="8534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711813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chemeClr val="bg2"/>
                </a:solidFill>
                <a:latin typeface="Museo Sans For Dell" pitchFamily="2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497295"/>
      </p:ext>
    </p:extLst>
  </p:cSld>
  <p:clrMapOvr>
    <a:masterClrMapping/>
  </p:clrMapOvr>
  <p:transition spd="med"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5761"/>
            <a:ext cx="6723663" cy="4431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2200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008525422"/>
      </p:ext>
    </p:extLst>
  </p:cSld>
  <p:clrMapOvr>
    <a:masterClrMapping/>
  </p:clrMapOvr>
  <p:transition spd="med"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65761"/>
            <a:ext cx="5730240" cy="88639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chemeClr val="bg2"/>
                </a:solidFill>
                <a:latin typeface="Museo Sans For Dell" pitchFamily="2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484464"/>
            <a:ext cx="5730240" cy="31845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83958472"/>
      </p:ext>
    </p:extLst>
  </p:cSld>
  <p:clrMapOvr>
    <a:masterClrMapping/>
  </p:clrMapOvr>
  <p:transition spd="med"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17392172"/>
      </p:ext>
    </p:extLst>
  </p:cSld>
  <p:clrMapOvr>
    <a:masterClrMapping/>
  </p:clrMapOvr>
  <p:transition spd="med"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620416"/>
      </p:ext>
    </p:extLst>
  </p:cSld>
  <p:clrMapOvr>
    <a:masterClrMapping/>
  </p:clrMapOvr>
  <p:transition spd="med"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609600" y="6172200"/>
            <a:ext cx="109728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034" y="6226685"/>
            <a:ext cx="764033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6319" y="6431530"/>
            <a:ext cx="347132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D5246C-868F-410A-AE52-FE248EDADC46}" type="slidenum">
              <a:rPr lang="en-US" smtClean="0">
                <a:solidFill>
                  <a:srgbClr val="000000">
                    <a:lumMod val="60000"/>
                    <a:lumOff val="4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429375"/>
            <a:ext cx="251460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>
                    <a:lumMod val="60000"/>
                    <a:lumOff val="40000"/>
                  </a:srgbClr>
                </a:solidFill>
              </a:rPr>
              <a:t>Confidential</a:t>
            </a:r>
            <a:endParaRPr lang="en-US" dirty="0">
              <a:solidFill>
                <a:srgbClr val="00000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67872" y="261563"/>
            <a:ext cx="10985501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338268"/>
      </p:ext>
    </p:extLst>
  </p:cSld>
  <p:clrMapOvr>
    <a:masterClrMapping/>
  </p:clrMapOvr>
  <p:transition spd="med"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39583" y="6479552"/>
            <a:ext cx="591283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200">
                <a:solidFill>
                  <a:srgbClr val="FFFFFF"/>
                </a:solidFill>
                <a:latin typeface="Arial" charset="0"/>
              </a:rPr>
              <a:t>© IDC   Visit us at IDC.com and follow us on Twitter: @IDC</a:t>
            </a:r>
            <a:endParaRPr lang="en-US" sz="32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430706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0879362-658A-E344-B7E9-F19991414F7F}" type="slidenum">
              <a:rPr lang="en-US" sz="3200">
                <a:solidFill>
                  <a:srgbClr val="FFFFFF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20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1181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1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10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99822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99822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12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26" Type="http://schemas.openxmlformats.org/officeDocument/2006/relationships/image" Target="../media/image43.png"/><Relationship Id="rId3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65.xml"/><Relationship Id="rId21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slideLayout" Target="../slideLayouts/slideLayout187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82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32" Type="http://schemas.openxmlformats.org/officeDocument/2006/relationships/image" Target="../media/image65.emf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theme" Target="../theme/theme11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slideLayout" Target="../slideLayouts/slideLayout189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17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image" Target="../media/image65.emf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94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193.xml"/><Relationship Id="rId9" Type="http://schemas.openxmlformats.org/officeDocument/2006/relationships/theme" Target="../theme/theme12.xml"/><Relationship Id="rId14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200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image" Target="../media/image16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41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image" Target="../media/image28.png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theme" Target="../theme/theme9.xml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365761" y="362515"/>
            <a:ext cx="10574127" cy="85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65761" y="1706880"/>
            <a:ext cx="10569292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B66089FA-6D15-4E85-BD28-D4D7999D9FC9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35C721-F4A3-4120-9C2E-27203531C79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020" y="6658951"/>
            <a:ext cx="1438656" cy="187024"/>
          </a:xfrm>
          <a:prstGeom prst="rect">
            <a:avLst/>
          </a:prstGeom>
        </p:spPr>
      </p:pic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36ECF22B-0D31-4984-BAEE-63E8F66C8DB4}"/>
              </a:ext>
            </a:extLst>
          </p:cNvPr>
          <p:cNvSpPr txBox="1"/>
          <p:nvPr userDrawn="1"/>
        </p:nvSpPr>
        <p:spPr>
          <a:xfrm>
            <a:off x="9395012" y="6684020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 dirty="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910743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/>
          <p:cNvSpPr txBox="1"/>
          <p:nvPr userDrawn="1"/>
        </p:nvSpPr>
        <p:spPr>
          <a:xfrm>
            <a:off x="369116" y="65317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16"/>
          <p:cNvSpPr txBox="1"/>
          <p:nvPr userDrawn="1"/>
        </p:nvSpPr>
        <p:spPr>
          <a:xfrm>
            <a:off x="524067" y="6531718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/>
          <p:cNvSpPr txBox="1"/>
          <p:nvPr userDrawn="1"/>
        </p:nvSpPr>
        <p:spPr>
          <a:xfrm>
            <a:off x="1" y="6494272"/>
            <a:ext cx="65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endParaRPr lang="en-US" sz="800" b="1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ED49C821-A4F0-4975-970C-62F230E1E3F5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pt-BR" sz="7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183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</p:sldLayoutIdLst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0D698E-427D-4363-99C3-67FE89C933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" name="think-cell Slide" r:id="rId31" imgW="592" imgH="591" progId="TCLayout.ActiveDocument.1">
                  <p:embed/>
                </p:oleObj>
              </mc:Choice>
              <mc:Fallback>
                <p:oleObj name="think-cell Slide" r:id="rId3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0D698E-427D-4363-99C3-67FE89C93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5454" y="6445115"/>
            <a:ext cx="176330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1133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1133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052" y="6451805"/>
            <a:ext cx="900493" cy="160087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A2F6C0-4ED7-4A42-B20F-A99FA9AD072B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72663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  <p:sldLayoutId id="2147483922" r:id="rId20"/>
    <p:sldLayoutId id="2147483923" r:id="rId21"/>
    <p:sldLayoutId id="2147483924" r:id="rId22"/>
    <p:sldLayoutId id="2147483925" r:id="rId23"/>
    <p:sldLayoutId id="2147483926" r:id="rId24"/>
    <p:sldLayoutId id="2147483927" r:id="rId25"/>
    <p:sldLayoutId id="2147483929" r:id="rId26"/>
    <p:sldLayoutId id="2147483931" r:id="rId27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14E925-08CA-4179-8289-139884A20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2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14E925-08CA-4179-8289-139884A20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C6F17-EF87-4204-B953-7A21F8BB433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5CADAD5-AEFC-4F95-868E-EFCFEE2989E3}"/>
              </a:ext>
            </a:extLst>
          </p:cNvPr>
          <p:cNvSpPr txBox="1"/>
          <p:nvPr userDrawn="1"/>
        </p:nvSpPr>
        <p:spPr>
          <a:xfrm>
            <a:off x="893105" y="66769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08147B-1364-48FC-9691-02278863203C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80279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/>
          <p:cNvSpPr txBox="1"/>
          <p:nvPr userDrawn="1"/>
        </p:nvSpPr>
        <p:spPr>
          <a:xfrm>
            <a:off x="369116" y="66780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16"/>
          <p:cNvSpPr txBox="1"/>
          <p:nvPr userDrawn="1"/>
        </p:nvSpPr>
        <p:spPr>
          <a:xfrm>
            <a:off x="524067" y="6678018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0" name="fl" descr="                              Dell - Internal Use - Confidential&#10;"/>
          <p:cNvSpPr txBox="1"/>
          <p:nvPr userDrawn="1"/>
        </p:nvSpPr>
        <p:spPr>
          <a:xfrm>
            <a:off x="893105" y="66769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507" y="6451805"/>
            <a:ext cx="900493" cy="160087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1017A0B6-2FBF-44B0-8167-29D98E9BE7C4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730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  <p:sldLayoutId id="2147483958" r:id="rId17"/>
    <p:sldLayoutId id="2147483959" r:id="rId18"/>
    <p:sldLayoutId id="2147483960" r:id="rId19"/>
    <p:sldLayoutId id="2147483961" r:id="rId2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5580">
          <p15:clr>
            <a:srgbClr val="F26B43"/>
          </p15:clr>
        </p15:guide>
        <p15:guide id="4" pos="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C6F17-EF87-4204-B953-7A21F8BB433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020" y="6658951"/>
            <a:ext cx="1438656" cy="187024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08147B-1364-48FC-9691-02278863203C}"/>
              </a:ext>
            </a:extLst>
          </p:cNvPr>
          <p:cNvSpPr txBox="1"/>
          <p:nvPr userDrawn="1"/>
        </p:nvSpPr>
        <p:spPr>
          <a:xfrm>
            <a:off x="9395012" y="6684020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 dirty="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3280397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2" r:id="rId7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365761" y="362515"/>
            <a:ext cx="10574127" cy="85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65761" y="1706880"/>
            <a:ext cx="10569292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D3B277-30A2-4783-9E5F-7CD5228A317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2020" y="6658951"/>
            <a:ext cx="1438656" cy="187024"/>
          </a:xfrm>
          <a:prstGeom prst="rect">
            <a:avLst/>
          </a:prstGeom>
        </p:spPr>
      </p:pic>
      <p:sp>
        <p:nvSpPr>
          <p:cNvPr id="1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1C26C7A-A7D4-4B56-9A69-1560CFB9F173}"/>
              </a:ext>
            </a:extLst>
          </p:cNvPr>
          <p:cNvSpPr txBox="1"/>
          <p:nvPr userDrawn="1"/>
        </p:nvSpPr>
        <p:spPr>
          <a:xfrm>
            <a:off x="9395012" y="6684020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 dirty="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921334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 hidden="1"/>
          <p:cNvSpPr txBox="1"/>
          <p:nvPr/>
        </p:nvSpPr>
        <p:spPr>
          <a:xfrm>
            <a:off x="2527304" y="6433774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7DB8"/>
              </a:buClr>
            </a:pPr>
            <a:fld id="{E00CF047-7350-4707-AA1A-E56FA69586CC}" type="datetime1">
              <a:rPr lang="en-US" sz="120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7DB8"/>
                </a:buClr>
              </a:pPr>
              <a:t>4/25/2021</a:t>
            </a:fld>
            <a:endParaRPr lang="en-US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4" y="6433774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7DB8"/>
              </a:buClr>
            </a:pPr>
            <a:fld id="{E00CF047-7350-4707-AA1A-E56FA69586CC}" type="datetime1">
              <a:rPr lang="en-US" sz="120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7DB8"/>
                </a:buClr>
              </a:pPr>
              <a:t>4/25/2021</a:t>
            </a:fld>
            <a:endParaRPr lang="en-US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7" y="6445117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133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7" y="6445117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endParaRPr lang="en-US" sz="1133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5454" y="6445117"/>
            <a:ext cx="176330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</a:pPr>
            <a:fld id="{58EC7406-F4CC-4ABF-902E-2AF4E70E5C0F}" type="slidenum">
              <a:rPr lang="en-US" sz="1133">
                <a:solidFill>
                  <a:srgbClr val="000000">
                    <a:lumMod val="50000"/>
                    <a:lumOff val="50000"/>
                  </a:srgbClr>
                </a:solidFill>
              </a:rPr>
              <a:pPr algn="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DB8"/>
                </a:buClr>
              </a:pPr>
              <a:t>‹#›</a:t>
            </a:fld>
            <a:endParaRPr lang="en-US" sz="1133" dirty="0" err="1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5052" y="6451806"/>
            <a:ext cx="900493" cy="160087"/>
          </a:xfrm>
          <a:prstGeom prst="rect">
            <a:avLst/>
          </a:prstGeom>
        </p:spPr>
      </p:pic>
      <p:sp>
        <p:nvSpPr>
          <p:cNvPr id="3" name="MSIPCMContentMarking" descr="{&quot;HashCode&quot;:-1912962988,&quot;Placement&quot;:&quot;Footer&quot;}"/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78554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4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0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27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84" indent="-304784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196" indent="-311135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790" indent="-29420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01" indent="-296319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077" indent="-315368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646" indent="-3153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216" indent="-3153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786" indent="-3153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355" indent="-31536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5454" y="6445115"/>
            <a:ext cx="176330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1133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1133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052" y="6451805"/>
            <a:ext cx="900493" cy="160087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A2F6C0-4ED7-4A42-B20F-A99FA9AD072B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69083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7" r:id="rId25"/>
    <p:sldLayoutId id="2147483759" r:id="rId26"/>
    <p:sldLayoutId id="2147483761" r:id="rId27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4/25/2021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C6F17-EF87-4204-B953-7A21F8BB43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08147B-1364-48FC-9691-02278863203C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13877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6" r:id="rId3"/>
    <p:sldLayoutId id="2147483767" r:id="rId4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/>
          <p:cNvSpPr txBox="1"/>
          <p:nvPr userDrawn="1"/>
        </p:nvSpPr>
        <p:spPr>
          <a:xfrm>
            <a:off x="369116" y="66780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16"/>
          <p:cNvSpPr txBox="1"/>
          <p:nvPr userDrawn="1"/>
        </p:nvSpPr>
        <p:spPr>
          <a:xfrm>
            <a:off x="524067" y="6678018"/>
            <a:ext cx="184346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0" name="fl" descr="                              Dell - Internal Use - Confidential&#10;"/>
          <p:cNvSpPr txBox="1"/>
          <p:nvPr userDrawn="1"/>
        </p:nvSpPr>
        <p:spPr>
          <a:xfrm>
            <a:off x="893105" y="66769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507" y="6451805"/>
            <a:ext cx="900493" cy="160087"/>
          </a:xfrm>
          <a:prstGeom prst="rect">
            <a:avLst/>
          </a:prstGeom>
        </p:spPr>
      </p:pic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1017A0B6-2FBF-44B0-8167-29D98E9BE7C4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7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002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7" r:id="rId18"/>
    <p:sldLayoutId id="2147483962" r:id="rId1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5580">
          <p15:clr>
            <a:srgbClr val="F26B43"/>
          </p15:clr>
        </p15:guide>
        <p15:guide id="4" pos="18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365761" y="362515"/>
            <a:ext cx="10574127" cy="85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. </a:t>
            </a:r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365761" y="1706880"/>
            <a:ext cx="10569292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333" dirty="0"/>
              <a:t>Fourth level</a:t>
            </a:r>
            <a:endParaRPr lang="en-US" dirty="0"/>
          </a:p>
        </p:txBody>
      </p:sp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base">
              <a:lnSpc>
                <a:spcPct val="90000"/>
              </a:lnSpc>
              <a:spcBef>
                <a:spcPts val="800"/>
              </a:spcBef>
              <a:buClr>
                <a:srgbClr val="0085C3"/>
              </a:buClr>
            </a:pPr>
            <a:fld id="{E00CF047-7350-4707-AA1A-E56FA69586CC}" type="datetime1">
              <a:rPr lang="en-US" sz="1200">
                <a:solidFill>
                  <a:srgbClr val="444444">
                    <a:lumMod val="50000"/>
                    <a:lumOff val="50000"/>
                  </a:srgbClr>
                </a:solidFill>
              </a:rPr>
              <a:pPr fontAlgn="base">
                <a:lnSpc>
                  <a:spcPct val="90000"/>
                </a:lnSpc>
                <a:spcBef>
                  <a:spcPts val="800"/>
                </a:spcBef>
                <a:buClr>
                  <a:srgbClr val="0085C3"/>
                </a:buClr>
              </a:pPr>
              <a:t>4/25/2021</a:t>
            </a:fld>
            <a:endParaRPr lang="en-US" sz="1200" dirty="0">
              <a:solidFill>
                <a:srgbClr val="444444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21" name="Picture 20" descr="dell_gray_logo.png"/>
          <p:cNvPicPr>
            <a:picLocks noChangeAspect="1"/>
          </p:cNvPicPr>
          <p:nvPr userDrawn="1"/>
        </p:nvPicPr>
        <p:blipFill>
          <a:blip r:embed="rId14" cstate="screen"/>
          <a:stretch>
            <a:fillRect/>
          </a:stretch>
        </p:blipFill>
        <p:spPr bwMode="black">
          <a:xfrm>
            <a:off x="11219770" y="6286927"/>
            <a:ext cx="404964" cy="40496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 bwMode="black">
          <a:xfrm>
            <a:off x="7279184" y="6424570"/>
            <a:ext cx="3657600" cy="184666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Dell Networking</a:t>
            </a:r>
          </a:p>
        </p:txBody>
      </p:sp>
      <p:sp>
        <p:nvSpPr>
          <p:cNvPr id="2" name="fl" descr="                              Dell - Internal Use - Confidential&#10;"/>
          <p:cNvSpPr txBox="1"/>
          <p:nvPr userDrawn="1"/>
        </p:nvSpPr>
        <p:spPr>
          <a:xfrm>
            <a:off x="0" y="6409690"/>
            <a:ext cx="12192000" cy="48090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850" b="1" i="0" u="none" baseline="0">
                <a:solidFill>
                  <a:srgbClr val="7F7F7F"/>
                </a:solidFill>
                <a:latin typeface="museo sans for dell" panose="02000000000000000000"/>
              </a:rPr>
              <a:t>                              Dell - Internal Use - Confidential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endParaRPr lang="en-US" sz="14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99A59519-0534-48A9-97BF-60A3C577A1EB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pt-BR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pt-BR" sz="700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46596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Museo Sans For Dell" panose="02000000000000000000" pitchFamily="2" charset="0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/>
          <p:cNvSpPr txBox="1"/>
          <p:nvPr userDrawn="1"/>
        </p:nvSpPr>
        <p:spPr>
          <a:xfrm>
            <a:off x="369116" y="6678018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16"/>
          <p:cNvSpPr txBox="1"/>
          <p:nvPr userDrawn="1"/>
        </p:nvSpPr>
        <p:spPr>
          <a:xfrm>
            <a:off x="524067" y="6678018"/>
            <a:ext cx="230832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800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57</a:t>
            </a:r>
          </a:p>
        </p:txBody>
      </p:sp>
      <p:sp>
        <p:nvSpPr>
          <p:cNvPr id="10" name="fl" descr="                              Dell - Internal Use - Confidential&#10;"/>
          <p:cNvSpPr txBox="1"/>
          <p:nvPr userDrawn="1"/>
        </p:nvSpPr>
        <p:spPr>
          <a:xfrm>
            <a:off x="893105" y="6676992"/>
            <a:ext cx="1603003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 sz="600" b="0" i="0" u="none" baseline="0">
                <a:solidFill>
                  <a:srgbClr val="7F7F7F"/>
                </a:solidFill>
                <a:latin typeface="+mn-lt"/>
              </a:defRPr>
            </a:lvl1pPr>
          </a:lstStyle>
          <a:p>
            <a:pPr lvl="0"/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Dell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Internal Use 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800" b="1" dirty="0">
                <a:solidFill>
                  <a:srgbClr val="808080"/>
                </a:solidFill>
                <a:latin typeface="Arial" panose="020B0604020202020204" pitchFamily="34" charset="0"/>
              </a:rPr>
              <a:t> Confidentia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0574A15C-EA53-45BD-8045-22DCA58C1230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7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pt-BR" sz="7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298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</p:sldLayoutIdLst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image" Target="../media/image73.png"/><Relationship Id="rId7" Type="http://schemas.openxmlformats.org/officeDocument/2006/relationships/image" Target="../media/image7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76.emf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ccess.redhat.com/articles/3642632" TargetMode="External"/><Relationship Id="rId2" Type="http://schemas.openxmlformats.org/officeDocument/2006/relationships/hyperlink" Target="https://ansible-dellos-docs.readthedocs.io/en/latest/roles.html" TargetMode="External"/><Relationship Id="rId1" Type="http://schemas.openxmlformats.org/officeDocument/2006/relationships/slideLayout" Target="../slideLayouts/slideLayout78.xml"/><Relationship Id="rId5" Type="http://schemas.openxmlformats.org/officeDocument/2006/relationships/hyperlink" Target="https://gitlab.force10networks.com/kpatil/vaquita.git" TargetMode="External"/><Relationship Id="rId4" Type="http://schemas.openxmlformats.org/officeDocument/2006/relationships/hyperlink" Target="https://www.ansible.com/integrations/networks/del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27572" y="1618148"/>
            <a:ext cx="11249080" cy="2215991"/>
          </a:xfrm>
        </p:spPr>
        <p:txBody>
          <a:bodyPr>
            <a:noAutofit/>
          </a:bodyPr>
          <a:lstStyle/>
          <a:p>
            <a:br>
              <a:rPr lang="en-US" sz="5400" dirty="0"/>
            </a:br>
            <a:r>
              <a:rPr lang="en-US" sz="5400" dirty="0"/>
              <a:t>Automation: </a:t>
            </a:r>
            <a:br>
              <a:rPr lang="en-US" sz="5400" dirty="0"/>
            </a:br>
            <a:r>
              <a:rPr lang="en-US" sz="5400" b="1" dirty="0"/>
              <a:t>PoC </a:t>
            </a:r>
            <a:r>
              <a:rPr lang="en-US" sz="5400" b="1" dirty="0" err="1"/>
              <a:t>VxLan</a:t>
            </a:r>
            <a:r>
              <a:rPr lang="en-US" sz="5400" b="1" dirty="0"/>
              <a:t> Deployment</a:t>
            </a:r>
          </a:p>
        </p:txBody>
      </p:sp>
    </p:spTree>
    <p:extLst>
      <p:ext uri="{BB962C8B-B14F-4D97-AF65-F5344CB8AC3E}">
        <p14:creationId xmlns:p14="http://schemas.microsoft.com/office/powerpoint/2010/main" val="2135582360"/>
      </p:ext>
    </p:extLst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</p:spPr>
        <p:txBody>
          <a:bodyPr/>
          <a:lstStyle/>
          <a:p>
            <a:r>
              <a:rPr lang="en-US" dirty="0" err="1"/>
              <a:t>Openstack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90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304800"/>
            <a:ext cx="3886200" cy="517064"/>
          </a:xfrm>
        </p:spPr>
        <p:txBody>
          <a:bodyPr/>
          <a:lstStyle/>
          <a:p>
            <a:r>
              <a:rPr lang="en-US" dirty="0"/>
              <a:t>Network Topolog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54B469-D746-420F-9299-3402342FAF5A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381000"/>
            <a:ext cx="8686800" cy="609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130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InfluxDB - Wikipedia">
            <a:extLst>
              <a:ext uri="{FF2B5EF4-FFF2-40B4-BE49-F238E27FC236}">
                <a16:creationId xmlns:a16="http://schemas.microsoft.com/office/drawing/2014/main" id="{C547055B-DCE4-4A05-AA6E-AF67C8D8DE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21" y="1022525"/>
            <a:ext cx="1577123" cy="58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ow to install Telegraf on Ubuntu - FoxuTech">
            <a:extLst>
              <a:ext uri="{FF2B5EF4-FFF2-40B4-BE49-F238E27FC236}">
                <a16:creationId xmlns:a16="http://schemas.microsoft.com/office/drawing/2014/main" id="{ECE35422-456D-4203-B87F-1A5E1E5DD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942206"/>
            <a:ext cx="1192729" cy="796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Getting started with Ansible - first playbook - Open Virtualization">
            <a:extLst>
              <a:ext uri="{FF2B5EF4-FFF2-40B4-BE49-F238E27FC236}">
                <a16:creationId xmlns:a16="http://schemas.microsoft.com/office/drawing/2014/main" id="{59059B57-FB61-48B4-8042-FFD6066C2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18" y="1703137"/>
            <a:ext cx="871951" cy="687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Oval 89">
            <a:extLst>
              <a:ext uri="{FF2B5EF4-FFF2-40B4-BE49-F238E27FC236}">
                <a16:creationId xmlns:a16="http://schemas.microsoft.com/office/drawing/2014/main" id="{C0B07881-743C-41AE-9692-90AD59955241}"/>
              </a:ext>
            </a:extLst>
          </p:cNvPr>
          <p:cNvSpPr/>
          <p:nvPr/>
        </p:nvSpPr>
        <p:spPr>
          <a:xfrm>
            <a:off x="1752601" y="1752601"/>
            <a:ext cx="8591551" cy="2028556"/>
          </a:xfrm>
          <a:prstGeom prst="ellipse">
            <a:avLst/>
          </a:prstGeom>
          <a:solidFill>
            <a:srgbClr val="00B050">
              <a:alpha val="1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34FF26FF-FEF3-4CC1-8AA4-440CD34EE2F6}"/>
              </a:ext>
            </a:extLst>
          </p:cNvPr>
          <p:cNvSpPr/>
          <p:nvPr/>
        </p:nvSpPr>
        <p:spPr>
          <a:xfrm>
            <a:off x="4665285" y="3732164"/>
            <a:ext cx="3539756" cy="457200"/>
          </a:xfrm>
          <a:prstGeom prst="roundRect">
            <a:avLst/>
          </a:prstGeom>
          <a:solidFill>
            <a:schemeClr val="bg1">
              <a:alpha val="26000"/>
            </a:schemeClr>
          </a:solidFill>
          <a:ln w="12700">
            <a:solidFill>
              <a:srgbClr val="00B05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DF3E398-CC08-4379-827D-2723A6F59000}"/>
              </a:ext>
            </a:extLst>
          </p:cNvPr>
          <p:cNvSpPr/>
          <p:nvPr/>
        </p:nvSpPr>
        <p:spPr>
          <a:xfrm>
            <a:off x="914401" y="3733800"/>
            <a:ext cx="3539756" cy="457200"/>
          </a:xfrm>
          <a:prstGeom prst="roundRect">
            <a:avLst/>
          </a:prstGeom>
          <a:solidFill>
            <a:schemeClr val="bg1">
              <a:alpha val="26000"/>
            </a:schemeClr>
          </a:solidFill>
          <a:ln w="12700">
            <a:solidFill>
              <a:srgbClr val="00B05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al Networ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326FF2-E22C-4E66-959D-25B02025A30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515"/>
          <a:stretch/>
        </p:blipFill>
        <p:spPr>
          <a:xfrm>
            <a:off x="983123" y="3886200"/>
            <a:ext cx="1524000" cy="13174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28ED9FB-B60B-47AF-A197-87D079FD471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1515"/>
          <a:stretch/>
        </p:blipFill>
        <p:spPr>
          <a:xfrm>
            <a:off x="4343400" y="1600200"/>
            <a:ext cx="1447800" cy="152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D0B5E3-6971-4DCE-AC00-349313708BE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1515"/>
          <a:stretch/>
        </p:blipFill>
        <p:spPr>
          <a:xfrm>
            <a:off x="6248400" y="1600200"/>
            <a:ext cx="1447800" cy="152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E3D9CA-0C70-42E0-96C2-B9223E913C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515"/>
          <a:stretch/>
        </p:blipFill>
        <p:spPr>
          <a:xfrm>
            <a:off x="2811923" y="3886200"/>
            <a:ext cx="1524000" cy="1317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DA8961-7931-4723-B77D-778890E7A66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515"/>
          <a:stretch/>
        </p:blipFill>
        <p:spPr>
          <a:xfrm>
            <a:off x="4724400" y="3886200"/>
            <a:ext cx="1524000" cy="1317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AE6E005-2B45-4349-96E7-557E2C18E27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515"/>
          <a:stretch/>
        </p:blipFill>
        <p:spPr>
          <a:xfrm>
            <a:off x="6553200" y="3886200"/>
            <a:ext cx="1524000" cy="1317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D7204D4-0E00-45C3-A6AA-3A19669DA8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515"/>
          <a:stretch/>
        </p:blipFill>
        <p:spPr>
          <a:xfrm>
            <a:off x="8680916" y="3886200"/>
            <a:ext cx="1524000" cy="131749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2A36BC-F404-45B9-9712-9FA3005B1D4C}"/>
              </a:ext>
            </a:extLst>
          </p:cNvPr>
          <p:cNvCxnSpPr>
            <a:cxnSpLocks/>
            <a:stCxn id="2" idx="0"/>
            <a:endCxn id="4" idx="2"/>
          </p:cNvCxnSpPr>
          <p:nvPr/>
        </p:nvCxnSpPr>
        <p:spPr>
          <a:xfrm flipV="1">
            <a:off x="1745124" y="1752600"/>
            <a:ext cx="3322177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9BB218-A75C-4369-8511-C392EDAD85D7}"/>
              </a:ext>
            </a:extLst>
          </p:cNvPr>
          <p:cNvCxnSpPr>
            <a:stCxn id="2" idx="0"/>
            <a:endCxn id="6" idx="2"/>
          </p:cNvCxnSpPr>
          <p:nvPr/>
        </p:nvCxnSpPr>
        <p:spPr>
          <a:xfrm flipV="1">
            <a:off x="1745124" y="1752600"/>
            <a:ext cx="5227177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E1675AD-2D3F-4D04-9F46-0A7F8E5C4D65}"/>
              </a:ext>
            </a:extLst>
          </p:cNvPr>
          <p:cNvCxnSpPr>
            <a:stCxn id="7" idx="0"/>
            <a:endCxn id="4" idx="2"/>
          </p:cNvCxnSpPr>
          <p:nvPr/>
        </p:nvCxnSpPr>
        <p:spPr>
          <a:xfrm flipV="1">
            <a:off x="3573924" y="1752600"/>
            <a:ext cx="1493377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E65F6FC-5948-4ADF-AD41-9A7534CB5BD9}"/>
              </a:ext>
            </a:extLst>
          </p:cNvPr>
          <p:cNvCxnSpPr>
            <a:stCxn id="7" idx="0"/>
            <a:endCxn id="6" idx="2"/>
          </p:cNvCxnSpPr>
          <p:nvPr/>
        </p:nvCxnSpPr>
        <p:spPr>
          <a:xfrm flipV="1">
            <a:off x="3573924" y="1752600"/>
            <a:ext cx="3398377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F31F2D-5874-4368-9CB3-7429F8738A5F}"/>
              </a:ext>
            </a:extLst>
          </p:cNvPr>
          <p:cNvCxnSpPr>
            <a:stCxn id="9" idx="0"/>
            <a:endCxn id="4" idx="2"/>
          </p:cNvCxnSpPr>
          <p:nvPr/>
        </p:nvCxnSpPr>
        <p:spPr>
          <a:xfrm flipH="1" flipV="1">
            <a:off x="5067301" y="1752600"/>
            <a:ext cx="419100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B7537C1-AA6A-4F86-8746-55CAB2934CB1}"/>
              </a:ext>
            </a:extLst>
          </p:cNvPr>
          <p:cNvCxnSpPr>
            <a:stCxn id="9" idx="0"/>
            <a:endCxn id="6" idx="2"/>
          </p:cNvCxnSpPr>
          <p:nvPr/>
        </p:nvCxnSpPr>
        <p:spPr>
          <a:xfrm flipV="1">
            <a:off x="5486401" y="1752600"/>
            <a:ext cx="1485900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F0D7C90-FDD9-4426-BC65-EC92C69CE10C}"/>
              </a:ext>
            </a:extLst>
          </p:cNvPr>
          <p:cNvCxnSpPr>
            <a:stCxn id="10" idx="0"/>
            <a:endCxn id="4" idx="2"/>
          </p:cNvCxnSpPr>
          <p:nvPr/>
        </p:nvCxnSpPr>
        <p:spPr>
          <a:xfrm flipH="1" flipV="1">
            <a:off x="5067301" y="1752600"/>
            <a:ext cx="2247900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4DA121A-DC4A-4EA0-9124-60D1CCBE6540}"/>
              </a:ext>
            </a:extLst>
          </p:cNvPr>
          <p:cNvCxnSpPr>
            <a:stCxn id="10" idx="0"/>
            <a:endCxn id="6" idx="2"/>
          </p:cNvCxnSpPr>
          <p:nvPr/>
        </p:nvCxnSpPr>
        <p:spPr>
          <a:xfrm flipH="1" flipV="1">
            <a:off x="6972301" y="1752600"/>
            <a:ext cx="342900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8E02A35-6197-4E69-A615-193EEE639B31}"/>
              </a:ext>
            </a:extLst>
          </p:cNvPr>
          <p:cNvCxnSpPr>
            <a:stCxn id="11" idx="0"/>
            <a:endCxn id="4" idx="2"/>
          </p:cNvCxnSpPr>
          <p:nvPr/>
        </p:nvCxnSpPr>
        <p:spPr>
          <a:xfrm flipH="1" flipV="1">
            <a:off x="5067300" y="1752600"/>
            <a:ext cx="4375616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B45508A-995A-43AF-A67A-D6EEC5656D7C}"/>
              </a:ext>
            </a:extLst>
          </p:cNvPr>
          <p:cNvCxnSpPr>
            <a:stCxn id="11" idx="0"/>
            <a:endCxn id="6" idx="2"/>
          </p:cNvCxnSpPr>
          <p:nvPr/>
        </p:nvCxnSpPr>
        <p:spPr>
          <a:xfrm flipH="1" flipV="1">
            <a:off x="6972300" y="1752600"/>
            <a:ext cx="2470616" cy="21336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loud 36">
            <a:extLst>
              <a:ext uri="{FF2B5EF4-FFF2-40B4-BE49-F238E27FC236}">
                <a16:creationId xmlns:a16="http://schemas.microsoft.com/office/drawing/2014/main" id="{F8C913C3-CE65-48FC-864A-62D2E1669F6C}"/>
              </a:ext>
            </a:extLst>
          </p:cNvPr>
          <p:cNvSpPr/>
          <p:nvPr/>
        </p:nvSpPr>
        <p:spPr>
          <a:xfrm>
            <a:off x="9639301" y="1219200"/>
            <a:ext cx="1409700" cy="609600"/>
          </a:xfrm>
          <a:prstGeom prst="cloud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accent1">
                  <a:lumMod val="45000"/>
                  <a:lumOff val="55000"/>
                </a:schemeClr>
              </a:gs>
              <a:gs pos="9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326DDF-18B6-4BC0-9D93-21CDD28DBFC1}"/>
              </a:ext>
            </a:extLst>
          </p:cNvPr>
          <p:cNvCxnSpPr>
            <a:stCxn id="11" idx="0"/>
            <a:endCxn id="37" idx="1"/>
          </p:cNvCxnSpPr>
          <p:nvPr/>
        </p:nvCxnSpPr>
        <p:spPr>
          <a:xfrm flipV="1">
            <a:off x="9442916" y="1828152"/>
            <a:ext cx="901235" cy="205804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92DDE379-D436-4354-A31B-7B71C56E4BA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91" r="5049" b="52837"/>
          <a:stretch/>
        </p:blipFill>
        <p:spPr>
          <a:xfrm>
            <a:off x="1095288" y="4612884"/>
            <a:ext cx="1295400" cy="34688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FD34CA87-0DDC-46B0-8B4E-18B82308F56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91" r="5049" b="52837"/>
          <a:stretch/>
        </p:blipFill>
        <p:spPr>
          <a:xfrm>
            <a:off x="2920525" y="4609852"/>
            <a:ext cx="1295400" cy="34688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CB630EF-046D-4AA1-BE32-F673962C22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91" r="5049" b="52837"/>
          <a:stretch/>
        </p:blipFill>
        <p:spPr>
          <a:xfrm>
            <a:off x="4838348" y="4612884"/>
            <a:ext cx="1295400" cy="34688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833A7D9-10D4-4A2D-9452-2D36CE504DA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91" r="5049" b="52837"/>
          <a:stretch/>
        </p:blipFill>
        <p:spPr>
          <a:xfrm>
            <a:off x="6663585" y="4609852"/>
            <a:ext cx="1295400" cy="346889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0A202-4C77-4E6A-B8FD-B50FF83F0CC4}"/>
              </a:ext>
            </a:extLst>
          </p:cNvPr>
          <p:cNvCxnSpPr>
            <a:stCxn id="2" idx="2"/>
            <a:endCxn id="42" idx="0"/>
          </p:cNvCxnSpPr>
          <p:nvPr/>
        </p:nvCxnSpPr>
        <p:spPr>
          <a:xfrm flipH="1">
            <a:off x="1742989" y="4017950"/>
            <a:ext cx="2135" cy="5949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7B743B3-42B1-4D92-9FB1-31096AAE6EB9}"/>
              </a:ext>
            </a:extLst>
          </p:cNvPr>
          <p:cNvCxnSpPr>
            <a:cxnSpLocks/>
            <a:stCxn id="42" idx="0"/>
            <a:endCxn id="7" idx="2"/>
          </p:cNvCxnSpPr>
          <p:nvPr/>
        </p:nvCxnSpPr>
        <p:spPr>
          <a:xfrm flipV="1">
            <a:off x="1742989" y="4017950"/>
            <a:ext cx="1830935" cy="5949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8DB62C0-8B61-4B84-9FB6-832D71936307}"/>
              </a:ext>
            </a:extLst>
          </p:cNvPr>
          <p:cNvCxnSpPr>
            <a:stCxn id="2" idx="2"/>
            <a:endCxn id="43" idx="0"/>
          </p:cNvCxnSpPr>
          <p:nvPr/>
        </p:nvCxnSpPr>
        <p:spPr>
          <a:xfrm>
            <a:off x="1745123" y="4017950"/>
            <a:ext cx="1823103" cy="5919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D86BBC8-E34B-4275-AE93-57AAF32A3447}"/>
              </a:ext>
            </a:extLst>
          </p:cNvPr>
          <p:cNvCxnSpPr>
            <a:stCxn id="7" idx="2"/>
            <a:endCxn id="43" idx="0"/>
          </p:cNvCxnSpPr>
          <p:nvPr/>
        </p:nvCxnSpPr>
        <p:spPr>
          <a:xfrm flipH="1">
            <a:off x="3568226" y="4017950"/>
            <a:ext cx="5697" cy="5919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BE567B8-87D7-4D2E-A0AB-26446ED525A5}"/>
              </a:ext>
            </a:extLst>
          </p:cNvPr>
          <p:cNvCxnSpPr>
            <a:stCxn id="9" idx="2"/>
            <a:endCxn id="44" idx="0"/>
          </p:cNvCxnSpPr>
          <p:nvPr/>
        </p:nvCxnSpPr>
        <p:spPr>
          <a:xfrm flipH="1">
            <a:off x="5486048" y="4017950"/>
            <a:ext cx="352" cy="5949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70C8D98-5964-4FEF-BB25-9C992225347F}"/>
              </a:ext>
            </a:extLst>
          </p:cNvPr>
          <p:cNvCxnSpPr>
            <a:stCxn id="44" idx="0"/>
            <a:endCxn id="10" idx="2"/>
          </p:cNvCxnSpPr>
          <p:nvPr/>
        </p:nvCxnSpPr>
        <p:spPr>
          <a:xfrm flipV="1">
            <a:off x="5486048" y="4017950"/>
            <a:ext cx="1829152" cy="5949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78978C0-8C3B-4E64-935B-BA4445ABD298}"/>
              </a:ext>
            </a:extLst>
          </p:cNvPr>
          <p:cNvCxnSpPr>
            <a:stCxn id="9" idx="2"/>
            <a:endCxn id="45" idx="0"/>
          </p:cNvCxnSpPr>
          <p:nvPr/>
        </p:nvCxnSpPr>
        <p:spPr>
          <a:xfrm>
            <a:off x="5486400" y="4017950"/>
            <a:ext cx="1824885" cy="5919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E503EC8-2E43-447B-972A-2F47E7839181}"/>
              </a:ext>
            </a:extLst>
          </p:cNvPr>
          <p:cNvCxnSpPr>
            <a:stCxn id="10" idx="2"/>
            <a:endCxn id="45" idx="0"/>
          </p:cNvCxnSpPr>
          <p:nvPr/>
        </p:nvCxnSpPr>
        <p:spPr>
          <a:xfrm flipH="1">
            <a:off x="7311285" y="4017950"/>
            <a:ext cx="3915" cy="5919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E1012708-70EE-4F11-9B4E-0A516357AD0D}"/>
              </a:ext>
            </a:extLst>
          </p:cNvPr>
          <p:cNvSpPr/>
          <p:nvPr/>
        </p:nvSpPr>
        <p:spPr>
          <a:xfrm>
            <a:off x="1576337" y="4486831"/>
            <a:ext cx="701831" cy="70216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1E7F5149-BC4B-4F49-8F30-F789331B7E01}"/>
              </a:ext>
            </a:extLst>
          </p:cNvPr>
          <p:cNvSpPr/>
          <p:nvPr/>
        </p:nvSpPr>
        <p:spPr>
          <a:xfrm>
            <a:off x="3048879" y="4486831"/>
            <a:ext cx="701831" cy="70216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12EEF4F-C308-4592-A480-05F96A2EF9C8}"/>
              </a:ext>
            </a:extLst>
          </p:cNvPr>
          <p:cNvSpPr/>
          <p:nvPr/>
        </p:nvSpPr>
        <p:spPr>
          <a:xfrm>
            <a:off x="5309258" y="4486831"/>
            <a:ext cx="701831" cy="70216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854276CB-359F-417E-AB47-7F2B504B4E4A}"/>
              </a:ext>
            </a:extLst>
          </p:cNvPr>
          <p:cNvSpPr/>
          <p:nvPr/>
        </p:nvSpPr>
        <p:spPr>
          <a:xfrm>
            <a:off x="6781801" y="4486831"/>
            <a:ext cx="701831" cy="70216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A8BC6CB-CD58-43FD-B5BE-8758D2D30B6B}"/>
              </a:ext>
            </a:extLst>
          </p:cNvPr>
          <p:cNvCxnSpPr>
            <a:cxnSpLocks/>
          </p:cNvCxnSpPr>
          <p:nvPr/>
        </p:nvCxnSpPr>
        <p:spPr>
          <a:xfrm>
            <a:off x="2507123" y="3934983"/>
            <a:ext cx="304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6FCC0DE-D0E9-4591-9D05-0EF127189888}"/>
              </a:ext>
            </a:extLst>
          </p:cNvPr>
          <p:cNvCxnSpPr/>
          <p:nvPr/>
        </p:nvCxnSpPr>
        <p:spPr>
          <a:xfrm>
            <a:off x="2507123" y="3974389"/>
            <a:ext cx="304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04705780-B429-41CB-BD6A-5424501F5045}"/>
              </a:ext>
            </a:extLst>
          </p:cNvPr>
          <p:cNvSpPr/>
          <p:nvPr/>
        </p:nvSpPr>
        <p:spPr>
          <a:xfrm rot="5400000">
            <a:off x="2543117" y="3929151"/>
            <a:ext cx="239608" cy="60959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35EEB0C-B728-433D-8488-6CDA7BD99E03}"/>
              </a:ext>
            </a:extLst>
          </p:cNvPr>
          <p:cNvCxnSpPr>
            <a:cxnSpLocks/>
          </p:cNvCxnSpPr>
          <p:nvPr/>
        </p:nvCxnSpPr>
        <p:spPr>
          <a:xfrm>
            <a:off x="6237005" y="3936164"/>
            <a:ext cx="304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9B6198D-88CA-4437-827E-DCAA5BA78DE7}"/>
              </a:ext>
            </a:extLst>
          </p:cNvPr>
          <p:cNvCxnSpPr>
            <a:cxnSpLocks/>
          </p:cNvCxnSpPr>
          <p:nvPr/>
        </p:nvCxnSpPr>
        <p:spPr>
          <a:xfrm>
            <a:off x="6237005" y="3975571"/>
            <a:ext cx="304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CD093D5D-C038-4F2D-8B18-9A653935AB95}"/>
              </a:ext>
            </a:extLst>
          </p:cNvPr>
          <p:cNvSpPr/>
          <p:nvPr/>
        </p:nvSpPr>
        <p:spPr>
          <a:xfrm rot="5400000">
            <a:off x="6273000" y="3930333"/>
            <a:ext cx="239608" cy="60959"/>
          </a:xfrm>
          <a:prstGeom prst="ellipse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pic>
        <p:nvPicPr>
          <p:cNvPr id="92" name="Picture 91" descr="Icon&#10;&#10;Description automatically generated">
            <a:extLst>
              <a:ext uri="{FF2B5EF4-FFF2-40B4-BE49-F238E27FC236}">
                <a16:creationId xmlns:a16="http://schemas.microsoft.com/office/drawing/2014/main" id="{7791E5BA-5B94-43AC-BE99-A9E55CA1AF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2479" y="4805675"/>
            <a:ext cx="843597" cy="407739"/>
          </a:xfrm>
          <a:prstGeom prst="rect">
            <a:avLst/>
          </a:prstGeom>
        </p:spPr>
      </p:pic>
      <p:pic>
        <p:nvPicPr>
          <p:cNvPr id="93" name="Picture 92" descr="Icon&#10;&#10;Description automatically generated">
            <a:extLst>
              <a:ext uri="{FF2B5EF4-FFF2-40B4-BE49-F238E27FC236}">
                <a16:creationId xmlns:a16="http://schemas.microsoft.com/office/drawing/2014/main" id="{3261AD9B-7044-4F71-9D9C-AB54452373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1486" y="4854513"/>
            <a:ext cx="843597" cy="407739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0BECA934-61D7-4307-9CE3-65EBA1040276}"/>
              </a:ext>
            </a:extLst>
          </p:cNvPr>
          <p:cNvSpPr txBox="1"/>
          <p:nvPr/>
        </p:nvSpPr>
        <p:spPr>
          <a:xfrm>
            <a:off x="3242015" y="4994414"/>
            <a:ext cx="652423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/>
              <a:t>Controller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8CF55B8-2D97-4FE2-8F9D-7BC3C66F58A6}"/>
              </a:ext>
            </a:extLst>
          </p:cNvPr>
          <p:cNvSpPr txBox="1"/>
          <p:nvPr/>
        </p:nvSpPr>
        <p:spPr>
          <a:xfrm>
            <a:off x="1323018" y="4990716"/>
            <a:ext cx="711733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/>
              <a:t>Compute-1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5EEC933-004F-4546-BEE3-9375054096C1}"/>
              </a:ext>
            </a:extLst>
          </p:cNvPr>
          <p:cNvSpPr txBox="1"/>
          <p:nvPr/>
        </p:nvSpPr>
        <p:spPr>
          <a:xfrm>
            <a:off x="5124835" y="4990716"/>
            <a:ext cx="711733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/>
              <a:t>Compute-2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854EAFB-59C7-4CAF-8237-5EA8B6C5A5FB}"/>
              </a:ext>
            </a:extLst>
          </p:cNvPr>
          <p:cNvSpPr txBox="1"/>
          <p:nvPr/>
        </p:nvSpPr>
        <p:spPr>
          <a:xfrm>
            <a:off x="6967647" y="4977534"/>
            <a:ext cx="711733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/>
              <a:t>Compute-3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F19BBF9-7468-4DFF-9B9E-B0C9CFF14203}"/>
              </a:ext>
            </a:extLst>
          </p:cNvPr>
          <p:cNvSpPr txBox="1"/>
          <p:nvPr/>
        </p:nvSpPr>
        <p:spPr>
          <a:xfrm>
            <a:off x="9259549" y="4086630"/>
            <a:ext cx="815929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b="1" dirty="0">
                <a:solidFill>
                  <a:schemeClr val="bg2"/>
                </a:solidFill>
              </a:rPr>
              <a:t>Border Switch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D293060-DB09-4C56-B7A7-DFE5263BD108}"/>
              </a:ext>
            </a:extLst>
          </p:cNvPr>
          <p:cNvSpPr txBox="1"/>
          <p:nvPr/>
        </p:nvSpPr>
        <p:spPr>
          <a:xfrm>
            <a:off x="1045547" y="3538709"/>
            <a:ext cx="771044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b="1" dirty="0">
                <a:solidFill>
                  <a:schemeClr val="bg2"/>
                </a:solidFill>
              </a:rPr>
              <a:t>Logical VTEP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62A0C05-1691-4FF7-B221-BD0F7D11C5C0}"/>
              </a:ext>
            </a:extLst>
          </p:cNvPr>
          <p:cNvSpPr txBox="1"/>
          <p:nvPr/>
        </p:nvSpPr>
        <p:spPr>
          <a:xfrm>
            <a:off x="5867072" y="1413407"/>
            <a:ext cx="371897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>
                <a:solidFill>
                  <a:schemeClr val="bg2"/>
                </a:solidFill>
              </a:rPr>
              <a:t>Spine</a:t>
            </a:r>
            <a:endParaRPr lang="en-US" sz="933" b="1" dirty="0">
              <a:solidFill>
                <a:schemeClr val="bg2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8D4A0E8-8F5C-4BEB-AF27-97EB4BE561B3}"/>
              </a:ext>
            </a:extLst>
          </p:cNvPr>
          <p:cNvSpPr txBox="1"/>
          <p:nvPr/>
        </p:nvSpPr>
        <p:spPr>
          <a:xfrm>
            <a:off x="10094882" y="1505424"/>
            <a:ext cx="498533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067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Internet</a:t>
            </a:r>
            <a:endParaRPr lang="en-US" sz="933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55AF92A-8697-4ED2-989A-4166DD233F50}"/>
              </a:ext>
            </a:extLst>
          </p:cNvPr>
          <p:cNvSpPr txBox="1"/>
          <p:nvPr/>
        </p:nvSpPr>
        <p:spPr>
          <a:xfrm>
            <a:off x="2968206" y="2182694"/>
            <a:ext cx="79233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BGP EVPN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999EF782-7270-4F93-AA7A-857DB7D7A51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91" r="5049" b="52837"/>
          <a:stretch/>
        </p:blipFill>
        <p:spPr>
          <a:xfrm>
            <a:off x="805621" y="1442083"/>
            <a:ext cx="975463" cy="261215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B0B7035E-337A-49E3-9CF1-73A4246FEC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3077" y="1741220"/>
            <a:ext cx="480785" cy="490401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8ADD1D8-1BCF-4038-AF00-9315C04002FB}"/>
              </a:ext>
            </a:extLst>
          </p:cNvPr>
          <p:cNvCxnSpPr>
            <a:stCxn id="69" idx="3"/>
            <a:endCxn id="90" idx="1"/>
          </p:cNvCxnSpPr>
          <p:nvPr/>
        </p:nvCxnSpPr>
        <p:spPr>
          <a:xfrm>
            <a:off x="1781084" y="1572691"/>
            <a:ext cx="1229721" cy="476984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F6C23DB2-47C7-4526-82B5-9E51432C8A28}"/>
              </a:ext>
            </a:extLst>
          </p:cNvPr>
          <p:cNvSpPr txBox="1"/>
          <p:nvPr/>
        </p:nvSpPr>
        <p:spPr>
          <a:xfrm>
            <a:off x="4720928" y="1379066"/>
            <a:ext cx="530593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dirty="0">
                <a:solidFill>
                  <a:schemeClr val="bg2"/>
                </a:solidFill>
              </a:rPr>
              <a:t>AS 6510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286357-0BF5-414F-A84C-F88D96393387}"/>
              </a:ext>
            </a:extLst>
          </p:cNvPr>
          <p:cNvSpPr txBox="1"/>
          <p:nvPr/>
        </p:nvSpPr>
        <p:spPr>
          <a:xfrm>
            <a:off x="6116454" y="3525963"/>
            <a:ext cx="530593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dirty="0">
                <a:solidFill>
                  <a:schemeClr val="bg2"/>
                </a:solidFill>
              </a:rPr>
              <a:t>AS 6500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194960A-B340-4718-9E84-84C6C25261B9}"/>
              </a:ext>
            </a:extLst>
          </p:cNvPr>
          <p:cNvSpPr txBox="1"/>
          <p:nvPr/>
        </p:nvSpPr>
        <p:spPr>
          <a:xfrm>
            <a:off x="9385874" y="3609742"/>
            <a:ext cx="530593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dirty="0">
                <a:solidFill>
                  <a:schemeClr val="bg2"/>
                </a:solidFill>
              </a:rPr>
              <a:t>AS 65003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D262F9E-8EED-489B-8E99-62956B167C31}"/>
              </a:ext>
            </a:extLst>
          </p:cNvPr>
          <p:cNvSpPr txBox="1"/>
          <p:nvPr/>
        </p:nvSpPr>
        <p:spPr>
          <a:xfrm>
            <a:off x="2614302" y="3518741"/>
            <a:ext cx="530593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dirty="0">
                <a:solidFill>
                  <a:schemeClr val="bg2"/>
                </a:solidFill>
              </a:rPr>
              <a:t>AS 65001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3B8B23-3F82-4F88-A2D4-D13E2CD8145E}"/>
              </a:ext>
            </a:extLst>
          </p:cNvPr>
          <p:cNvSpPr txBox="1"/>
          <p:nvPr/>
        </p:nvSpPr>
        <p:spPr>
          <a:xfrm>
            <a:off x="6796392" y="1373434"/>
            <a:ext cx="530593" cy="143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33" dirty="0">
                <a:solidFill>
                  <a:schemeClr val="bg2"/>
                </a:solidFill>
              </a:rPr>
              <a:t>AS 65101</a:t>
            </a:r>
          </a:p>
        </p:txBody>
      </p:sp>
    </p:spTree>
    <p:extLst>
      <p:ext uri="{BB962C8B-B14F-4D97-AF65-F5344CB8AC3E}">
        <p14:creationId xmlns:p14="http://schemas.microsoft.com/office/powerpoint/2010/main" val="118130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213D8C8-3328-48FE-813A-C6B443220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484536"/>
            <a:ext cx="10607040" cy="609398"/>
          </a:xfrm>
        </p:spPr>
        <p:txBody>
          <a:bodyPr/>
          <a:lstStyle/>
          <a:p>
            <a:r>
              <a:rPr lang="en-US" sz="4400" dirty="0" err="1"/>
              <a:t>DellEMC</a:t>
            </a:r>
            <a:r>
              <a:rPr lang="en-US" sz="4400" dirty="0"/>
              <a:t> Networking Ansible Suppor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4FF3D30-84FC-46FB-BB15-9342AD1F13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21" y="1166260"/>
            <a:ext cx="11248290" cy="207308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F7CEF02-39D5-40E7-BF7A-C2EA95E59A6E}"/>
              </a:ext>
            </a:extLst>
          </p:cNvPr>
          <p:cNvSpPr txBox="1">
            <a:spLocks/>
          </p:cNvSpPr>
          <p:nvPr/>
        </p:nvSpPr>
        <p:spPr>
          <a:xfrm>
            <a:off x="361952" y="3429000"/>
            <a:ext cx="10610849" cy="2531533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Tx/>
              <a:buChar char="-"/>
            </a:pPr>
            <a:r>
              <a:rPr lang="en-US" dirty="0">
                <a:solidFill>
                  <a:schemeClr val="tx2"/>
                </a:solidFill>
              </a:rPr>
              <a:t>RedHat Ansible Partner since inception</a:t>
            </a:r>
          </a:p>
          <a:p>
            <a:pPr marL="457200" indent="-457200">
              <a:buFontTx/>
              <a:buChar char="-"/>
            </a:pPr>
            <a:r>
              <a:rPr lang="en-US" dirty="0">
                <a:solidFill>
                  <a:schemeClr val="tx2"/>
                </a:solidFill>
              </a:rPr>
              <a:t>Networking, First class citizen from Ansible 2.1</a:t>
            </a:r>
          </a:p>
          <a:p>
            <a:pPr marL="457200" indent="-457200">
              <a:buFontTx/>
              <a:buChar char="-"/>
            </a:pPr>
            <a:r>
              <a:rPr lang="en-US" dirty="0">
                <a:solidFill>
                  <a:schemeClr val="tx2"/>
                </a:solidFill>
              </a:rPr>
              <a:t>Part of Ansible Advisory Board</a:t>
            </a:r>
          </a:p>
          <a:p>
            <a:pPr marL="457200" indent="-457200">
              <a:buFontTx/>
              <a:buChar char="-"/>
            </a:pPr>
            <a:r>
              <a:rPr lang="en-US" dirty="0">
                <a:solidFill>
                  <a:schemeClr val="tx2"/>
                </a:solidFill>
              </a:rPr>
              <a:t>Ansible is the primary choice of automation for Networking</a:t>
            </a:r>
          </a:p>
          <a:p>
            <a:pPr marL="457200" indent="-457200">
              <a:buFontTx/>
              <a:buChar char="-"/>
            </a:pPr>
            <a:endParaRPr lang="en-US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583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lEMC Networking Ansible Suppor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66397" y="1635697"/>
            <a:ext cx="569387" cy="12416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6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4889526" y="2505401"/>
            <a:ext cx="2411661" cy="2417304"/>
          </a:xfrm>
          <a:custGeom>
            <a:avLst/>
            <a:gdLst>
              <a:gd name="T0" fmla="*/ 1276 w 4990"/>
              <a:gd name="T1" fmla="*/ 465 h 4998"/>
              <a:gd name="T2" fmla="*/ 3795 w 4990"/>
              <a:gd name="T3" fmla="*/ 515 h 4998"/>
              <a:gd name="T4" fmla="*/ 3723 w 4990"/>
              <a:gd name="T5" fmla="*/ 1228 h 4998"/>
              <a:gd name="T6" fmla="*/ 3883 w 4990"/>
              <a:gd name="T7" fmla="*/ 1387 h 4998"/>
              <a:gd name="T8" fmla="*/ 4555 w 4990"/>
              <a:gd name="T9" fmla="*/ 1319 h 4998"/>
              <a:gd name="T10" fmla="*/ 4512 w 4990"/>
              <a:gd name="T11" fmla="*/ 3761 h 4998"/>
              <a:gd name="T12" fmla="*/ 3845 w 4990"/>
              <a:gd name="T13" fmla="*/ 3693 h 4998"/>
              <a:gd name="T14" fmla="*/ 3685 w 4990"/>
              <a:gd name="T15" fmla="*/ 3853 h 4998"/>
              <a:gd name="T16" fmla="*/ 3753 w 4990"/>
              <a:gd name="T17" fmla="*/ 4520 h 4998"/>
              <a:gd name="T18" fmla="*/ 1351 w 4990"/>
              <a:gd name="T19" fmla="*/ 4586 h 4998"/>
              <a:gd name="T20" fmla="*/ 1426 w 4990"/>
              <a:gd name="T21" fmla="*/ 3844 h 4998"/>
              <a:gd name="T22" fmla="*/ 1267 w 4990"/>
              <a:gd name="T23" fmla="*/ 3684 h 4998"/>
              <a:gd name="T24" fmla="*/ 482 w 4990"/>
              <a:gd name="T25" fmla="*/ 3764 h 4998"/>
              <a:gd name="T26" fmla="*/ 457 w 4990"/>
              <a:gd name="T27" fmla="*/ 1284 h 4998"/>
              <a:gd name="T28" fmla="*/ 1191 w 4990"/>
              <a:gd name="T29" fmla="*/ 1358 h 4998"/>
              <a:gd name="T30" fmla="*/ 1350 w 4990"/>
              <a:gd name="T31" fmla="*/ 1199 h 4998"/>
              <a:gd name="T32" fmla="*/ 1276 w 4990"/>
              <a:gd name="T33" fmla="*/ 465 h 4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990" h="4998">
                <a:moveTo>
                  <a:pt x="1276" y="465"/>
                </a:moveTo>
                <a:cubicBezTo>
                  <a:pt x="2051" y="0"/>
                  <a:pt x="3035" y="17"/>
                  <a:pt x="3795" y="515"/>
                </a:cubicBezTo>
                <a:lnTo>
                  <a:pt x="3723" y="1228"/>
                </a:lnTo>
                <a:cubicBezTo>
                  <a:pt x="3714" y="1326"/>
                  <a:pt x="3785" y="1397"/>
                  <a:pt x="3883" y="1387"/>
                </a:cubicBezTo>
                <a:lnTo>
                  <a:pt x="4555" y="1319"/>
                </a:lnTo>
                <a:cubicBezTo>
                  <a:pt x="4990" y="2075"/>
                  <a:pt x="4976" y="3018"/>
                  <a:pt x="4512" y="3761"/>
                </a:cubicBezTo>
                <a:lnTo>
                  <a:pt x="3845" y="3693"/>
                </a:lnTo>
                <a:cubicBezTo>
                  <a:pt x="3747" y="3683"/>
                  <a:pt x="3675" y="3755"/>
                  <a:pt x="3685" y="3853"/>
                </a:cubicBezTo>
                <a:lnTo>
                  <a:pt x="3753" y="4520"/>
                </a:lnTo>
                <a:cubicBezTo>
                  <a:pt x="3023" y="4976"/>
                  <a:pt x="2100" y="4998"/>
                  <a:pt x="1351" y="4586"/>
                </a:cubicBezTo>
                <a:lnTo>
                  <a:pt x="1426" y="3844"/>
                </a:lnTo>
                <a:cubicBezTo>
                  <a:pt x="1436" y="3746"/>
                  <a:pt x="1365" y="3675"/>
                  <a:pt x="1267" y="3684"/>
                </a:cubicBezTo>
                <a:lnTo>
                  <a:pt x="482" y="3764"/>
                </a:lnTo>
                <a:cubicBezTo>
                  <a:pt x="9" y="3009"/>
                  <a:pt x="0" y="2046"/>
                  <a:pt x="457" y="1284"/>
                </a:cubicBezTo>
                <a:lnTo>
                  <a:pt x="1191" y="1358"/>
                </a:lnTo>
                <a:cubicBezTo>
                  <a:pt x="1288" y="1368"/>
                  <a:pt x="1360" y="1297"/>
                  <a:pt x="1350" y="1199"/>
                </a:cubicBezTo>
                <a:lnTo>
                  <a:pt x="1276" y="465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76C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833114" y="4369856"/>
            <a:ext cx="662853" cy="657213"/>
          </a:xfrm>
          <a:custGeom>
            <a:avLst/>
            <a:gdLst>
              <a:gd name="T0" fmla="*/ 538 w 1367"/>
              <a:gd name="T1" fmla="*/ 1362 h 1362"/>
              <a:gd name="T2" fmla="*/ 1019 w 1367"/>
              <a:gd name="T3" fmla="*/ 880 h 1362"/>
              <a:gd name="T4" fmla="*/ 1164 w 1367"/>
              <a:gd name="T5" fmla="*/ 1025 h 1362"/>
              <a:gd name="T6" fmla="*/ 1273 w 1367"/>
              <a:gd name="T7" fmla="*/ 986 h 1362"/>
              <a:gd name="T8" fmla="*/ 1359 w 1367"/>
              <a:gd name="T9" fmla="*/ 128 h 1362"/>
              <a:gd name="T10" fmla="*/ 1239 w 1367"/>
              <a:gd name="T11" fmla="*/ 7 h 1362"/>
              <a:gd name="T12" fmla="*/ 380 w 1367"/>
              <a:gd name="T13" fmla="*/ 94 h 1362"/>
              <a:gd name="T14" fmla="*/ 342 w 1367"/>
              <a:gd name="T15" fmla="*/ 202 h 1362"/>
              <a:gd name="T16" fmla="*/ 481 w 1367"/>
              <a:gd name="T17" fmla="*/ 342 h 1362"/>
              <a:gd name="T18" fmla="*/ 0 w 1367"/>
              <a:gd name="T19" fmla="*/ 824 h 1362"/>
              <a:gd name="T20" fmla="*/ 538 w 1367"/>
              <a:gd name="T21" fmla="*/ 1362 h 1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67" h="1362">
                <a:moveTo>
                  <a:pt x="538" y="1362"/>
                </a:moveTo>
                <a:lnTo>
                  <a:pt x="1019" y="880"/>
                </a:lnTo>
                <a:lnTo>
                  <a:pt x="1164" y="1025"/>
                </a:lnTo>
                <a:cubicBezTo>
                  <a:pt x="1217" y="1078"/>
                  <a:pt x="1265" y="1060"/>
                  <a:pt x="1273" y="986"/>
                </a:cubicBezTo>
                <a:lnTo>
                  <a:pt x="1359" y="128"/>
                </a:lnTo>
                <a:cubicBezTo>
                  <a:pt x="1367" y="54"/>
                  <a:pt x="1313" y="0"/>
                  <a:pt x="1239" y="7"/>
                </a:cubicBezTo>
                <a:lnTo>
                  <a:pt x="380" y="94"/>
                </a:lnTo>
                <a:cubicBezTo>
                  <a:pt x="306" y="101"/>
                  <a:pt x="289" y="150"/>
                  <a:pt x="342" y="202"/>
                </a:cubicBezTo>
                <a:lnTo>
                  <a:pt x="481" y="342"/>
                </a:lnTo>
                <a:lnTo>
                  <a:pt x="0" y="824"/>
                </a:lnTo>
                <a:lnTo>
                  <a:pt x="538" y="1362"/>
                </a:lnTo>
                <a:close/>
              </a:path>
            </a:pathLst>
          </a:custGeom>
          <a:solidFill>
            <a:srgbClr val="007DB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9"/>
          <p:cNvSpPr>
            <a:spLocks noEditPoints="1"/>
          </p:cNvSpPr>
          <p:nvPr/>
        </p:nvSpPr>
        <p:spPr bwMode="auto">
          <a:xfrm>
            <a:off x="3535610" y="1154307"/>
            <a:ext cx="5119492" cy="5119492"/>
          </a:xfrm>
          <a:custGeom>
            <a:avLst/>
            <a:gdLst>
              <a:gd name="T0" fmla="*/ 1539 w 10586"/>
              <a:gd name="T1" fmla="*/ 1539 h 10586"/>
              <a:gd name="T2" fmla="*/ 4879 w 10586"/>
              <a:gd name="T3" fmla="*/ 0 h 10586"/>
              <a:gd name="T4" fmla="*/ 4879 w 10586"/>
              <a:gd name="T5" fmla="*/ 2344 h 10586"/>
              <a:gd name="T6" fmla="*/ 3477 w 10586"/>
              <a:gd name="T7" fmla="*/ 2933 h 10586"/>
              <a:gd name="T8" fmla="*/ 3632 w 10586"/>
              <a:gd name="T9" fmla="*/ 3089 h 10586"/>
              <a:gd name="T10" fmla="*/ 3772 w 10586"/>
              <a:gd name="T11" fmla="*/ 2949 h 10586"/>
              <a:gd name="T12" fmla="*/ 3881 w 10586"/>
              <a:gd name="T13" fmla="*/ 2988 h 10586"/>
              <a:gd name="T14" fmla="*/ 3967 w 10586"/>
              <a:gd name="T15" fmla="*/ 3847 h 10586"/>
              <a:gd name="T16" fmla="*/ 3847 w 10586"/>
              <a:gd name="T17" fmla="*/ 3967 h 10586"/>
              <a:gd name="T18" fmla="*/ 2988 w 10586"/>
              <a:gd name="T19" fmla="*/ 3881 h 10586"/>
              <a:gd name="T20" fmla="*/ 2950 w 10586"/>
              <a:gd name="T21" fmla="*/ 3772 h 10586"/>
              <a:gd name="T22" fmla="*/ 3094 w 10586"/>
              <a:gd name="T23" fmla="*/ 3627 h 10586"/>
              <a:gd name="T24" fmla="*/ 2938 w 10586"/>
              <a:gd name="T25" fmla="*/ 3471 h 10586"/>
              <a:gd name="T26" fmla="*/ 2344 w 10586"/>
              <a:gd name="T27" fmla="*/ 4879 h 10586"/>
              <a:gd name="T28" fmla="*/ 0 w 10586"/>
              <a:gd name="T29" fmla="*/ 4879 h 10586"/>
              <a:gd name="T30" fmla="*/ 1539 w 10586"/>
              <a:gd name="T31" fmla="*/ 1539 h 10586"/>
              <a:gd name="T32" fmla="*/ 7696 w 10586"/>
              <a:gd name="T33" fmla="*/ 3534 h 10586"/>
              <a:gd name="T34" fmla="*/ 7573 w 10586"/>
              <a:gd name="T35" fmla="*/ 3657 h 10586"/>
              <a:gd name="T36" fmla="*/ 7718 w 10586"/>
              <a:gd name="T37" fmla="*/ 3801 h 10586"/>
              <a:gd name="T38" fmla="*/ 7679 w 10586"/>
              <a:gd name="T39" fmla="*/ 3910 h 10586"/>
              <a:gd name="T40" fmla="*/ 6821 w 10586"/>
              <a:gd name="T41" fmla="*/ 3996 h 10586"/>
              <a:gd name="T42" fmla="*/ 6700 w 10586"/>
              <a:gd name="T43" fmla="*/ 3876 h 10586"/>
              <a:gd name="T44" fmla="*/ 6787 w 10586"/>
              <a:gd name="T45" fmla="*/ 3018 h 10586"/>
              <a:gd name="T46" fmla="*/ 6895 w 10586"/>
              <a:gd name="T47" fmla="*/ 2979 h 10586"/>
              <a:gd name="T48" fmla="*/ 7035 w 10586"/>
              <a:gd name="T49" fmla="*/ 3118 h 10586"/>
              <a:gd name="T50" fmla="*/ 7171 w 10586"/>
              <a:gd name="T51" fmla="*/ 2982 h 10586"/>
              <a:gd name="T52" fmla="*/ 5707 w 10586"/>
              <a:gd name="T53" fmla="*/ 2344 h 10586"/>
              <a:gd name="T54" fmla="*/ 5707 w 10586"/>
              <a:gd name="T55" fmla="*/ 0 h 10586"/>
              <a:gd name="T56" fmla="*/ 9047 w 10586"/>
              <a:gd name="T57" fmla="*/ 1539 h 10586"/>
              <a:gd name="T58" fmla="*/ 10586 w 10586"/>
              <a:gd name="T59" fmla="*/ 4879 h 10586"/>
              <a:gd name="T60" fmla="*/ 8241 w 10586"/>
              <a:gd name="T61" fmla="*/ 4879 h 10586"/>
              <a:gd name="T62" fmla="*/ 7696 w 10586"/>
              <a:gd name="T63" fmla="*/ 3534 h 10586"/>
              <a:gd name="T64" fmla="*/ 7115 w 10586"/>
              <a:gd name="T65" fmla="*/ 7648 h 10586"/>
              <a:gd name="T66" fmla="*/ 7011 w 10586"/>
              <a:gd name="T67" fmla="*/ 7544 h 10586"/>
              <a:gd name="T68" fmla="*/ 6866 w 10586"/>
              <a:gd name="T69" fmla="*/ 7689 h 10586"/>
              <a:gd name="T70" fmla="*/ 6757 w 10586"/>
              <a:gd name="T71" fmla="*/ 7650 h 10586"/>
              <a:gd name="T72" fmla="*/ 6671 w 10586"/>
              <a:gd name="T73" fmla="*/ 6791 h 10586"/>
              <a:gd name="T74" fmla="*/ 6792 w 10586"/>
              <a:gd name="T75" fmla="*/ 6671 h 10586"/>
              <a:gd name="T76" fmla="*/ 7650 w 10586"/>
              <a:gd name="T77" fmla="*/ 6757 h 10586"/>
              <a:gd name="T78" fmla="*/ 7689 w 10586"/>
              <a:gd name="T79" fmla="*/ 6866 h 10586"/>
              <a:gd name="T80" fmla="*/ 7549 w 10586"/>
              <a:gd name="T81" fmla="*/ 7006 h 10586"/>
              <a:gd name="T82" fmla="*/ 7653 w 10586"/>
              <a:gd name="T83" fmla="*/ 7109 h 10586"/>
              <a:gd name="T84" fmla="*/ 8241 w 10586"/>
              <a:gd name="T85" fmla="*/ 5707 h 10586"/>
              <a:gd name="T86" fmla="*/ 10586 w 10586"/>
              <a:gd name="T87" fmla="*/ 5707 h 10586"/>
              <a:gd name="T88" fmla="*/ 9047 w 10586"/>
              <a:gd name="T89" fmla="*/ 9047 h 10586"/>
              <a:gd name="T90" fmla="*/ 5707 w 10586"/>
              <a:gd name="T91" fmla="*/ 10586 h 10586"/>
              <a:gd name="T92" fmla="*/ 5707 w 10586"/>
              <a:gd name="T93" fmla="*/ 8241 h 10586"/>
              <a:gd name="T94" fmla="*/ 7115 w 10586"/>
              <a:gd name="T95" fmla="*/ 7648 h 10586"/>
              <a:gd name="T96" fmla="*/ 4879 w 10586"/>
              <a:gd name="T97" fmla="*/ 10586 h 10586"/>
              <a:gd name="T98" fmla="*/ 1539 w 10586"/>
              <a:gd name="T99" fmla="*/ 9047 h 10586"/>
              <a:gd name="T100" fmla="*/ 0 w 10586"/>
              <a:gd name="T101" fmla="*/ 5707 h 10586"/>
              <a:gd name="T102" fmla="*/ 2344 w 10586"/>
              <a:gd name="T103" fmla="*/ 5707 h 10586"/>
              <a:gd name="T104" fmla="*/ 3188 w 10586"/>
              <a:gd name="T105" fmla="*/ 7398 h 10586"/>
              <a:gd name="T106" fmla="*/ 4879 w 10586"/>
              <a:gd name="T107" fmla="*/ 8241 h 10586"/>
              <a:gd name="T108" fmla="*/ 4879 w 10586"/>
              <a:gd name="T109" fmla="*/ 10586 h 10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586" h="10586">
                <a:moveTo>
                  <a:pt x="1539" y="1539"/>
                </a:moveTo>
                <a:cubicBezTo>
                  <a:pt x="2470" y="607"/>
                  <a:pt x="3661" y="95"/>
                  <a:pt x="4879" y="0"/>
                </a:cubicBezTo>
                <a:lnTo>
                  <a:pt x="4879" y="2344"/>
                </a:lnTo>
                <a:cubicBezTo>
                  <a:pt x="4380" y="2414"/>
                  <a:pt x="3895" y="2610"/>
                  <a:pt x="3477" y="2933"/>
                </a:cubicBezTo>
                <a:lnTo>
                  <a:pt x="3632" y="3089"/>
                </a:lnTo>
                <a:lnTo>
                  <a:pt x="3772" y="2949"/>
                </a:lnTo>
                <a:cubicBezTo>
                  <a:pt x="3825" y="2897"/>
                  <a:pt x="3873" y="2914"/>
                  <a:pt x="3881" y="2988"/>
                </a:cubicBezTo>
                <a:lnTo>
                  <a:pt x="3967" y="3847"/>
                </a:lnTo>
                <a:cubicBezTo>
                  <a:pt x="3975" y="3921"/>
                  <a:pt x="3921" y="3975"/>
                  <a:pt x="3847" y="3967"/>
                </a:cubicBezTo>
                <a:lnTo>
                  <a:pt x="2988" y="3881"/>
                </a:lnTo>
                <a:cubicBezTo>
                  <a:pt x="2914" y="3873"/>
                  <a:pt x="2897" y="3825"/>
                  <a:pt x="2950" y="3772"/>
                </a:cubicBezTo>
                <a:lnTo>
                  <a:pt x="3094" y="3627"/>
                </a:lnTo>
                <a:lnTo>
                  <a:pt x="2938" y="3471"/>
                </a:lnTo>
                <a:cubicBezTo>
                  <a:pt x="2612" y="3891"/>
                  <a:pt x="2414" y="4378"/>
                  <a:pt x="2344" y="4879"/>
                </a:cubicBezTo>
                <a:lnTo>
                  <a:pt x="0" y="4879"/>
                </a:lnTo>
                <a:cubicBezTo>
                  <a:pt x="95" y="3661"/>
                  <a:pt x="607" y="2470"/>
                  <a:pt x="1539" y="1539"/>
                </a:cubicBezTo>
                <a:close/>
                <a:moveTo>
                  <a:pt x="7696" y="3534"/>
                </a:moveTo>
                <a:lnTo>
                  <a:pt x="7573" y="3657"/>
                </a:lnTo>
                <a:lnTo>
                  <a:pt x="7718" y="3801"/>
                </a:lnTo>
                <a:cubicBezTo>
                  <a:pt x="7770" y="3854"/>
                  <a:pt x="7753" y="3903"/>
                  <a:pt x="7679" y="3910"/>
                </a:cubicBezTo>
                <a:lnTo>
                  <a:pt x="6821" y="3996"/>
                </a:lnTo>
                <a:cubicBezTo>
                  <a:pt x="6747" y="4004"/>
                  <a:pt x="6693" y="3950"/>
                  <a:pt x="6700" y="3876"/>
                </a:cubicBezTo>
                <a:lnTo>
                  <a:pt x="6787" y="3018"/>
                </a:lnTo>
                <a:cubicBezTo>
                  <a:pt x="6794" y="2944"/>
                  <a:pt x="6843" y="2926"/>
                  <a:pt x="6895" y="2979"/>
                </a:cubicBezTo>
                <a:lnTo>
                  <a:pt x="7035" y="3118"/>
                </a:lnTo>
                <a:lnTo>
                  <a:pt x="7171" y="2982"/>
                </a:lnTo>
                <a:cubicBezTo>
                  <a:pt x="6739" y="2630"/>
                  <a:pt x="6231" y="2418"/>
                  <a:pt x="5707" y="2344"/>
                </a:cubicBezTo>
                <a:lnTo>
                  <a:pt x="5707" y="0"/>
                </a:lnTo>
                <a:cubicBezTo>
                  <a:pt x="6925" y="95"/>
                  <a:pt x="8116" y="607"/>
                  <a:pt x="9047" y="1539"/>
                </a:cubicBezTo>
                <a:cubicBezTo>
                  <a:pt x="9978" y="2470"/>
                  <a:pt x="10491" y="3661"/>
                  <a:pt x="10586" y="4879"/>
                </a:cubicBezTo>
                <a:lnTo>
                  <a:pt x="8241" y="4879"/>
                </a:lnTo>
                <a:cubicBezTo>
                  <a:pt x="8175" y="4403"/>
                  <a:pt x="7993" y="3939"/>
                  <a:pt x="7696" y="3534"/>
                </a:cubicBezTo>
                <a:close/>
                <a:moveTo>
                  <a:pt x="7115" y="7648"/>
                </a:moveTo>
                <a:lnTo>
                  <a:pt x="7011" y="7544"/>
                </a:lnTo>
                <a:lnTo>
                  <a:pt x="6866" y="7689"/>
                </a:lnTo>
                <a:cubicBezTo>
                  <a:pt x="6813" y="7741"/>
                  <a:pt x="6765" y="7724"/>
                  <a:pt x="6757" y="7650"/>
                </a:cubicBezTo>
                <a:lnTo>
                  <a:pt x="6671" y="6791"/>
                </a:lnTo>
                <a:cubicBezTo>
                  <a:pt x="6663" y="6717"/>
                  <a:pt x="6717" y="6663"/>
                  <a:pt x="6792" y="6671"/>
                </a:cubicBezTo>
                <a:lnTo>
                  <a:pt x="7650" y="6757"/>
                </a:lnTo>
                <a:cubicBezTo>
                  <a:pt x="7724" y="6765"/>
                  <a:pt x="7741" y="6813"/>
                  <a:pt x="7689" y="6866"/>
                </a:cubicBezTo>
                <a:lnTo>
                  <a:pt x="7549" y="7006"/>
                </a:lnTo>
                <a:lnTo>
                  <a:pt x="7653" y="7109"/>
                </a:lnTo>
                <a:cubicBezTo>
                  <a:pt x="7975" y="6691"/>
                  <a:pt x="8172" y="6206"/>
                  <a:pt x="8241" y="5707"/>
                </a:cubicBezTo>
                <a:lnTo>
                  <a:pt x="10586" y="5707"/>
                </a:lnTo>
                <a:cubicBezTo>
                  <a:pt x="10491" y="6925"/>
                  <a:pt x="9978" y="8116"/>
                  <a:pt x="9047" y="9047"/>
                </a:cubicBezTo>
                <a:cubicBezTo>
                  <a:pt x="8116" y="9978"/>
                  <a:pt x="6925" y="10491"/>
                  <a:pt x="5707" y="10586"/>
                </a:cubicBezTo>
                <a:lnTo>
                  <a:pt x="5707" y="8241"/>
                </a:lnTo>
                <a:cubicBezTo>
                  <a:pt x="6208" y="8171"/>
                  <a:pt x="6695" y="7974"/>
                  <a:pt x="7115" y="7648"/>
                </a:cubicBezTo>
                <a:close/>
                <a:moveTo>
                  <a:pt x="4879" y="10586"/>
                </a:moveTo>
                <a:cubicBezTo>
                  <a:pt x="3661" y="10491"/>
                  <a:pt x="2470" y="9978"/>
                  <a:pt x="1539" y="9047"/>
                </a:cubicBezTo>
                <a:cubicBezTo>
                  <a:pt x="607" y="8116"/>
                  <a:pt x="95" y="6925"/>
                  <a:pt x="0" y="5707"/>
                </a:cubicBezTo>
                <a:lnTo>
                  <a:pt x="2344" y="5707"/>
                </a:lnTo>
                <a:cubicBezTo>
                  <a:pt x="2431" y="6326"/>
                  <a:pt x="2712" y="6922"/>
                  <a:pt x="3188" y="7398"/>
                </a:cubicBezTo>
                <a:cubicBezTo>
                  <a:pt x="3663" y="7874"/>
                  <a:pt x="4260" y="8155"/>
                  <a:pt x="4879" y="8241"/>
                </a:cubicBezTo>
                <a:lnTo>
                  <a:pt x="4879" y="105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 rot="19324226">
            <a:off x="3969218" y="2066709"/>
            <a:ext cx="1602517" cy="42686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10</a:t>
            </a:r>
          </a:p>
        </p:txBody>
      </p:sp>
      <p:sp>
        <p:nvSpPr>
          <p:cNvPr id="13" name="Rectangle 12"/>
          <p:cNvSpPr/>
          <p:nvPr/>
        </p:nvSpPr>
        <p:spPr>
          <a:xfrm rot="2654211">
            <a:off x="6659210" y="2107654"/>
            <a:ext cx="1602517" cy="42686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NiC</a:t>
            </a:r>
          </a:p>
        </p:txBody>
      </p:sp>
      <p:sp>
        <p:nvSpPr>
          <p:cNvPr id="14" name="Rectangle 13"/>
          <p:cNvSpPr/>
          <p:nvPr/>
        </p:nvSpPr>
        <p:spPr>
          <a:xfrm rot="2803781">
            <a:off x="3901004" y="4802837"/>
            <a:ext cx="1602517" cy="42686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9</a:t>
            </a:r>
          </a:p>
        </p:txBody>
      </p:sp>
      <p:sp>
        <p:nvSpPr>
          <p:cNvPr id="15" name="Rectangle 14"/>
          <p:cNvSpPr/>
          <p:nvPr/>
        </p:nvSpPr>
        <p:spPr>
          <a:xfrm rot="19224851">
            <a:off x="6628666" y="4920334"/>
            <a:ext cx="1602517" cy="426865"/>
          </a:xfrm>
          <a:prstGeom prst="rect">
            <a:avLst/>
          </a:prstGeom>
          <a:solidFill>
            <a:schemeClr val="bg1"/>
          </a:solidFill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6</a:t>
            </a:r>
          </a:p>
        </p:txBody>
      </p:sp>
      <p:sp>
        <p:nvSpPr>
          <p:cNvPr id="3" name="Rectangle 2"/>
          <p:cNvSpPr/>
          <p:nvPr/>
        </p:nvSpPr>
        <p:spPr>
          <a:xfrm>
            <a:off x="5217567" y="3456640"/>
            <a:ext cx="1764432" cy="503013"/>
          </a:xfrm>
          <a:prstGeom prst="rect">
            <a:avLst/>
          </a:prstGeom>
          <a:noFill/>
          <a:ln w="12700" cmpd="sng">
            <a:noFill/>
          </a:ln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007DB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ib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970" y="2827651"/>
            <a:ext cx="1756199" cy="1756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24243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213D8C8-3328-48FE-813A-C6B443220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484536"/>
            <a:ext cx="10607040" cy="609398"/>
          </a:xfrm>
        </p:spPr>
        <p:txBody>
          <a:bodyPr/>
          <a:lstStyle/>
          <a:p>
            <a:r>
              <a:rPr lang="en-US" sz="4400" dirty="0"/>
              <a:t>Ansible 2.10 Collection Suppo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EC98C9-D019-41CF-BB93-73D5B007DB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982" y="1093934"/>
            <a:ext cx="9747273" cy="27310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A69B2B-5519-4072-8373-11E17351E5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982" y="3753691"/>
            <a:ext cx="9747273" cy="2543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56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213D8C8-3328-48FE-813A-C6B443220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59" y="484536"/>
            <a:ext cx="10607040" cy="609398"/>
          </a:xfrm>
        </p:spPr>
        <p:txBody>
          <a:bodyPr/>
          <a:lstStyle/>
          <a:p>
            <a:r>
              <a:rPr lang="en-US" sz="4400" dirty="0"/>
              <a:t>Ansible Core Modu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639E26-2F5B-48D0-9444-8E86AE8D5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59" y="1093934"/>
            <a:ext cx="10334625" cy="560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949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ED36C-8045-44B3-B29A-C48F74B3E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40636"/>
            <a:ext cx="10515600" cy="1745093"/>
          </a:xfrm>
        </p:spPr>
        <p:txBody>
          <a:bodyPr/>
          <a:lstStyle/>
          <a:p>
            <a:r>
              <a:rPr lang="en-US" dirty="0"/>
              <a:t>Ansible: </a:t>
            </a:r>
            <a:br>
              <a:rPr lang="en-US" dirty="0"/>
            </a:br>
            <a:r>
              <a:rPr lang="en-US" sz="5400" dirty="0"/>
              <a:t>SONiC </a:t>
            </a:r>
            <a:r>
              <a:rPr lang="pt-BR" sz="5400" dirty="0"/>
              <a:t>VxLan PoC Demo</a:t>
            </a:r>
            <a:endParaRPr lang="es-US" sz="5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CE9B2-8686-4186-8B8F-6426018C2235}"/>
              </a:ext>
            </a:extLst>
          </p:cNvPr>
          <p:cNvSpPr txBox="1"/>
          <p:nvPr/>
        </p:nvSpPr>
        <p:spPr>
          <a:xfrm>
            <a:off x="224590" y="2601078"/>
            <a:ext cx="1174282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FFFFFF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FFFFFF"/>
                </a:solidFill>
              </a:rPr>
              <a:t>/home/</a:t>
            </a:r>
            <a:r>
              <a:rPr lang="en-US" sz="2400" dirty="0" err="1">
                <a:solidFill>
                  <a:srgbClr val="FFFFFF"/>
                </a:solidFill>
              </a:rPr>
              <a:t>linuxadmin</a:t>
            </a:r>
            <a:r>
              <a:rPr lang="en-US" sz="2400" dirty="0">
                <a:solidFill>
                  <a:srgbClr val="FFFFFF"/>
                </a:solidFill>
              </a:rPr>
              <a:t>/</a:t>
            </a:r>
            <a:r>
              <a:rPr lang="en-US" sz="2400" dirty="0" err="1">
                <a:solidFill>
                  <a:srgbClr val="FFFFFF"/>
                </a:solidFill>
              </a:rPr>
              <a:t>pocAnsibleDemo</a:t>
            </a:r>
            <a:endParaRPr lang="en-US" sz="24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host_vars</a:t>
            </a:r>
            <a:endParaRPr lang="es-US" sz="24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group_vars</a:t>
            </a:r>
            <a:endParaRPr lang="es-US" sz="24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inventory.yaml</a:t>
            </a:r>
            <a:endParaRPr lang="es-US" sz="24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kumimoji="0" lang="es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5591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08E1EF3-F44D-4502-8295-63EEB45A5595}"/>
              </a:ext>
            </a:extLst>
          </p:cNvPr>
          <p:cNvSpPr txBox="1"/>
          <p:nvPr/>
        </p:nvSpPr>
        <p:spPr>
          <a:xfrm>
            <a:off x="6096000" y="767828"/>
            <a:ext cx="489615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inventory.yaml</a:t>
            </a:r>
            <a:endParaRPr lang="es-US" sz="24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s-US" sz="1200" dirty="0">
              <a:solidFill>
                <a:srgbClr val="FFFF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197E50-58AF-49E0-9B93-0E2E317B931A}"/>
              </a:ext>
            </a:extLst>
          </p:cNvPr>
          <p:cNvSpPr txBox="1"/>
          <p:nvPr/>
        </p:nvSpPr>
        <p:spPr>
          <a:xfrm>
            <a:off x="1556782" y="528989"/>
            <a:ext cx="4162230" cy="48013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host_vars</a:t>
            </a:r>
            <a:endParaRPr lang="es-US" sz="24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spine1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spine2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leaf1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leaf2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leaf3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leaf4.yaml</a:t>
            </a:r>
          </a:p>
          <a:p>
            <a:pPr lvl="2">
              <a:defRPr/>
            </a:pPr>
            <a:endParaRPr lang="es-US" sz="12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group_vars</a:t>
            </a:r>
            <a:endParaRPr lang="es-US" sz="24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 err="1">
                <a:solidFill>
                  <a:srgbClr val="FFFFFF"/>
                </a:solidFill>
              </a:rPr>
              <a:t>all.yaml</a:t>
            </a:r>
            <a:endParaRPr lang="es-US" sz="12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 err="1">
                <a:solidFill>
                  <a:srgbClr val="FFFFFF"/>
                </a:solidFill>
              </a:rPr>
              <a:t>spine.yaml</a:t>
            </a:r>
            <a:endParaRPr lang="es-US" sz="12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 err="1">
                <a:solidFill>
                  <a:srgbClr val="FFFFFF"/>
                </a:solidFill>
              </a:rPr>
              <a:t>leaf.yaml</a:t>
            </a:r>
            <a:endParaRPr lang="es-US" sz="12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400" dirty="0" err="1">
                <a:solidFill>
                  <a:srgbClr val="FFFFFF"/>
                </a:solidFill>
              </a:rPr>
              <a:t>Playbooks</a:t>
            </a:r>
            <a:endParaRPr lang="es-US" sz="24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1_spine_underlay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2_leaf_underlay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3_leaf_mclag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4_spine_overlay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5_leaf_overlay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6_rack1_vxlan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>
                <a:solidFill>
                  <a:srgbClr val="FFFFFF"/>
                </a:solidFill>
              </a:rPr>
              <a:t>07_rack2_vxlan.yaml</a:t>
            </a: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 err="1">
                <a:solidFill>
                  <a:srgbClr val="FFFFFF"/>
                </a:solidFill>
              </a:rPr>
              <a:t>sonic_facts.yaml</a:t>
            </a:r>
            <a:endParaRPr lang="es-US" sz="1200" dirty="0">
              <a:solidFill>
                <a:srgbClr val="FFFFFF"/>
              </a:solidFill>
            </a:endParaRPr>
          </a:p>
          <a:p>
            <a:pPr marL="1257300" lvl="2" indent="-342900">
              <a:buFont typeface="Arial" panose="020B0604020202020204" pitchFamily="34" charset="0"/>
              <a:buChar char="•"/>
              <a:defRPr/>
            </a:pPr>
            <a:r>
              <a:rPr lang="es-US" sz="1200" dirty="0" err="1">
                <a:solidFill>
                  <a:srgbClr val="FFFFFF"/>
                </a:solidFill>
              </a:rPr>
              <a:t>sonic_hostname.yaml</a:t>
            </a:r>
            <a:endParaRPr lang="es-US" sz="1200" dirty="0">
              <a:solidFill>
                <a:srgbClr val="FFFFFF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s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8995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Topology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BAE24753-4069-46FD-984E-7B725272F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674" y="393004"/>
            <a:ext cx="9134475" cy="615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5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E51AA5-1B00-4279-A073-AB8D410D9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548" y="675041"/>
            <a:ext cx="10515600" cy="498598"/>
          </a:xfrm>
        </p:spPr>
        <p:txBody>
          <a:bodyPr/>
          <a:lstStyle/>
          <a:p>
            <a:r>
              <a:rPr lang="en-US" sz="3600" dirty="0"/>
              <a:t>Reference lin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132306-65A4-4886-AA75-DD3B84211609}"/>
              </a:ext>
            </a:extLst>
          </p:cNvPr>
          <p:cNvSpPr txBox="1"/>
          <p:nvPr/>
        </p:nvSpPr>
        <p:spPr>
          <a:xfrm>
            <a:off x="291548" y="1582340"/>
            <a:ext cx="11108635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</a:rPr>
              <a:t>https://galaxy.ansible.com/dellemc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chemeClr val="tx2"/>
              </a:solidFill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alaxy.ansible.com/dellemc/enterprise_sonic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nsible-dellos-docs.readthedocs.io/en/latest/roles.html</a:t>
            </a:r>
            <a:endParaRPr lang="en-US" sz="2000" dirty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000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ess.redhat.com/articles/3642632</a:t>
            </a:r>
            <a:endParaRPr lang="es-US" sz="2000" dirty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000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nsible.com/integrations/networks/dell</a:t>
            </a:r>
            <a:endParaRPr lang="es-US" sz="2000" dirty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s-US" sz="2000" dirty="0">
                <a:solidFill>
                  <a:schemeClr val="tx2"/>
                </a:solidFill>
                <a:hlinkClick r:id="rId5"/>
              </a:rPr>
              <a:t>https://gitlab.force10networks.com/kpatil/vaquita.git</a:t>
            </a:r>
            <a:endParaRPr lang="es-US" sz="2000" dirty="0">
              <a:solidFill>
                <a:schemeClr val="tx2"/>
              </a:solidFill>
            </a:endParaRPr>
          </a:p>
          <a:p>
            <a:pPr lvl="1">
              <a:defRPr/>
            </a:pPr>
            <a:endParaRPr lang="es-US" sz="2000" dirty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endParaRPr lang="es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653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l_Template 16x9_final_MuseoEmbedd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1" id="{C582AAE9-D26D-4BF9-8055-E9839D0D4732}" vid="{AE7FAEC6-B994-4C69-94C8-4E86D44E9C7E}"/>
    </a:ext>
  </a:extLst>
</a:theme>
</file>

<file path=ppt/theme/theme10.xml><?xml version="1.0" encoding="utf-8"?>
<a:theme xmlns:a="http://schemas.openxmlformats.org/drawingml/2006/main" name="Dell Tech 2018 internal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1200"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RS-FY20_ppt_template" id="{DD8F8C24-C11E-6144-A2BB-EA523BB828DF}" vid="{CD7738F0-F8B1-F046-810B-6E005B1CCC28}"/>
    </a:ext>
  </a:extLst>
</a:theme>
</file>

<file path=ppt/theme/theme11.xml><?xml version="1.0" encoding="utf-8"?>
<a:theme xmlns:a="http://schemas.openxmlformats.org/drawingml/2006/main" name="1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 EMC PPT Template [Read-Only]" id="{D37F1725-BD1F-4A28-9D55-1F0E99851BE6}" vid="{3A836C95-0711-4737-A06C-A2A7D3293663}"/>
    </a:ext>
  </a:extLst>
</a:theme>
</file>

<file path=ppt/theme/theme12.xml><?xml version="1.0" encoding="utf-8"?>
<a:theme xmlns:a="http://schemas.openxmlformats.org/drawingml/2006/main" name="8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+EMC Weekly Report Q3`17 Week 4" id="{15B0C1E8-3ADA-4C0E-81C9-E9E6177882DD}" vid="{C6C67033-EC24-4BFF-AF66-39677C38EA26}"/>
    </a:ext>
  </a:extLst>
</a:theme>
</file>

<file path=ppt/theme/theme13.xml><?xml version="1.0" encoding="utf-8"?>
<a:theme xmlns:a="http://schemas.openxmlformats.org/drawingml/2006/main" name="1_Dell EMC 2018 internal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19978522-15E7-41C3-9339-A8B1F5116039}" vid="{7425B8F8-B87E-4F01-8308-F1759AB8F621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+EMC Weekly Report Q3`17 Week 4" id="{15B0C1E8-3ADA-4C0E-81C9-E9E6177882DD}" vid="{C6C67033-EC24-4BFF-AF66-39677C38EA26}"/>
    </a:ext>
  </a:extLst>
</a:theme>
</file>

<file path=ppt/theme/theme3.xml><?xml version="1.0" encoding="utf-8"?>
<a:theme xmlns:a="http://schemas.openxmlformats.org/drawingml/2006/main" name="2_Dell_Template 16x9_final_MuseoEmbedd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1" id="{C582AAE9-D26D-4BF9-8055-E9839D0D4732}" vid="{AE7FAEC6-B994-4C69-94C8-4E86D44E9C7E}"/>
    </a:ext>
  </a:extLst>
</a:theme>
</file>

<file path=ppt/theme/theme4.xml><?xml version="1.0" encoding="utf-8"?>
<a:theme xmlns:a="http://schemas.openxmlformats.org/drawingml/2006/main" name="2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EMC_PPT_Template_16x9" id="{B8B5C6D0-E3FF-4310-9DCF-1B14F86F2E69}" vid="{627FB30F-31F4-4FBE-8A3A-F7BC81DAC0BD}"/>
    </a:ext>
  </a:extLst>
</a:theme>
</file>

<file path=ppt/theme/theme5.xml><?xml version="1.0" encoding="utf-8"?>
<a:theme xmlns:a="http://schemas.openxmlformats.org/drawingml/2006/main" name="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 EMC PPT Template [Read-Only]" id="{D37F1725-BD1F-4A28-9D55-1F0E99851BE6}" vid="{3A836C95-0711-4737-A06C-A2A7D3293663}"/>
    </a:ext>
  </a:extLst>
</a:theme>
</file>

<file path=ppt/theme/theme6.xml><?xml version="1.0" encoding="utf-8"?>
<a:theme xmlns:a="http://schemas.openxmlformats.org/drawingml/2006/main" name="7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+EMC Weekly Report Q3`17 Week 4" id="{15B0C1E8-3ADA-4C0E-81C9-E9E6177882DD}" vid="{C6C67033-EC24-4BFF-AF66-39677C38EA26}"/>
    </a:ext>
  </a:extLst>
</a:theme>
</file>

<file path=ppt/theme/theme7.xml><?xml version="1.0" encoding="utf-8"?>
<a:theme xmlns:a="http://schemas.openxmlformats.org/drawingml/2006/main" name="Dell EMC 2018 internal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19978522-15E7-41C3-9339-A8B1F5116039}" vid="{7425B8F8-B87E-4F01-8308-F1759AB8F621}"/>
    </a:ext>
  </a:extLst>
</a:theme>
</file>

<file path=ppt/theme/theme8.xml><?xml version="1.0" encoding="utf-8"?>
<a:theme xmlns:a="http://schemas.openxmlformats.org/drawingml/2006/main" name="3_Dell_Template 16x9_final_MuseoEmbedd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1" id="{C582AAE9-D26D-4BF9-8055-E9839D0D4732}" vid="{AE7FAEC6-B994-4C69-94C8-4E86D44E9C7E}"/>
    </a:ext>
  </a:extLst>
</a:theme>
</file>

<file path=ppt/theme/theme9.xml><?xml version="1.0" encoding="utf-8"?>
<a:theme xmlns:a="http://schemas.openxmlformats.org/drawingml/2006/main" name="Dell Tech 2019 internal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l_Tech_New_2018_ppt_template_internal.potx" id="{3A5B927A-5CB0-40D0-80F6-DF0D2513C66E}" vid="{39BFF65A-0200-4F87-8DF5-F2F773F6594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B17E42820C2D4E90831AE2AEFD7F44" ma:contentTypeVersion="2" ma:contentTypeDescription="Create a new document." ma:contentTypeScope="" ma:versionID="abd21568b9b53cb6d6dfc2b86b2656bf">
  <xsd:schema xmlns:xsd="http://www.w3.org/2001/XMLSchema" xmlns:xs="http://www.w3.org/2001/XMLSchema" xmlns:p="http://schemas.microsoft.com/office/2006/metadata/properties" xmlns:ns2="b2aacaba-cdb5-4b79-b774-b0d3116ed699" targetNamespace="http://schemas.microsoft.com/office/2006/metadata/properties" ma:root="true" ma:fieldsID="892e9fc717355983c7c540ca57c9b7ba" ns2:_="">
    <xsd:import namespace="b2aacaba-cdb5-4b79-b774-b0d3116ed6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aacaba-cdb5-4b79-b774-b0d3116ed6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51A334-A9C6-4665-87BB-5AD75BC5C8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aacaba-cdb5-4b79-b774-b0d3116ed6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2D230B5-EAF8-497D-96F7-83BAAD72B825}">
  <ds:schemaRefs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b2aacaba-cdb5-4b79-b774-b0d3116ed699"/>
  </ds:schemaRefs>
</ds:datastoreItem>
</file>

<file path=customXml/itemProps3.xml><?xml version="1.0" encoding="utf-8"?>
<ds:datastoreItem xmlns:ds="http://schemas.openxmlformats.org/officeDocument/2006/customXml" ds:itemID="{61073D73-A7FD-434D-BCB7-EED8A41D92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68</TotalTime>
  <Words>278</Words>
  <Application>Microsoft Office PowerPoint</Application>
  <PresentationFormat>Widescreen</PresentationFormat>
  <Paragraphs>71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6" baseType="lpstr">
      <vt:lpstr>Arial</vt:lpstr>
      <vt:lpstr>Arial Black</vt:lpstr>
      <vt:lpstr>Calibri</vt:lpstr>
      <vt:lpstr>Courier New</vt:lpstr>
      <vt:lpstr>Museo For Dell</vt:lpstr>
      <vt:lpstr>Museo For Dell 300</vt:lpstr>
      <vt:lpstr>Museo Sans For Dell</vt:lpstr>
      <vt:lpstr>Museo Sans For Dell</vt:lpstr>
      <vt:lpstr>Trebuchet MS</vt:lpstr>
      <vt:lpstr>Wingdings</vt:lpstr>
      <vt:lpstr>1_Dell_Template 16x9_final_MuseoEmbedded</vt:lpstr>
      <vt:lpstr>6_2016_DellEMC_ppt_template</vt:lpstr>
      <vt:lpstr>2_Dell_Template 16x9_final_MuseoEmbedded</vt:lpstr>
      <vt:lpstr>2_2016_DellEMC_ppt_template</vt:lpstr>
      <vt:lpstr>2016_DellEMC_ppt_template</vt:lpstr>
      <vt:lpstr>7_2016_DellEMC_ppt_template</vt:lpstr>
      <vt:lpstr>Dell EMC 2018 internal</vt:lpstr>
      <vt:lpstr>3_Dell_Template 16x9_final_MuseoEmbedded</vt:lpstr>
      <vt:lpstr>Dell Tech 2019 internal</vt:lpstr>
      <vt:lpstr>Dell Tech 2018 internal</vt:lpstr>
      <vt:lpstr>1_2016_DellEMC_ppt_template</vt:lpstr>
      <vt:lpstr>8_2016_DellEMC_ppt_template</vt:lpstr>
      <vt:lpstr>1_Dell EMC 2018 internal</vt:lpstr>
      <vt:lpstr>think-cell Slide</vt:lpstr>
      <vt:lpstr> Automation:  PoC VxLan Deployment</vt:lpstr>
      <vt:lpstr>DellEMC Networking Ansible Support</vt:lpstr>
      <vt:lpstr>DellEMC Networking Ansible Support</vt:lpstr>
      <vt:lpstr>Ansible 2.10 Collection Support</vt:lpstr>
      <vt:lpstr>Ansible Core Modules</vt:lpstr>
      <vt:lpstr>Ansible:  SONiC VxLan PoC Demo</vt:lpstr>
      <vt:lpstr>PowerPoint Presentation</vt:lpstr>
      <vt:lpstr>Network Topology</vt:lpstr>
      <vt:lpstr>Reference links</vt:lpstr>
      <vt:lpstr>Openstack </vt:lpstr>
      <vt:lpstr>Network Topology</vt:lpstr>
      <vt:lpstr>Logical Network</vt:lpstr>
    </vt:vector>
  </TitlesOfParts>
  <Company>Dell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centro PoC</dc:title>
  <dc:creator>Juan F Martinez</dc:creator>
  <cp:keywords>Internal Use</cp:keywords>
  <cp:lastModifiedBy>Arumugam, Vinoth</cp:lastModifiedBy>
  <cp:revision>576</cp:revision>
  <cp:lastPrinted>2020-05-13T23:01:11Z</cp:lastPrinted>
  <dcterms:created xsi:type="dcterms:W3CDTF">2016-06-28T15:03:24Z</dcterms:created>
  <dcterms:modified xsi:type="dcterms:W3CDTF">2021-04-26T19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388c9813-8747-496f-8886-f0b3a35f9e0a</vt:lpwstr>
  </property>
  <property fmtid="{D5CDD505-2E9C-101B-9397-08002B2CF9AE}" pid="3" name="DellClassification">
    <vt:lpwstr>Internal Use</vt:lpwstr>
  </property>
  <property fmtid="{D5CDD505-2E9C-101B-9397-08002B2CF9AE}" pid="4" name="DellSubLabels">
    <vt:lpwstr/>
  </property>
  <property fmtid="{D5CDD505-2E9C-101B-9397-08002B2CF9AE}" pid="5" name="DellVisual Markings (PPT)">
    <vt:lpwstr>Classification Footer</vt:lpwstr>
  </property>
  <property fmtid="{D5CDD505-2E9C-101B-9397-08002B2CF9AE}" pid="6" name="titusconfig">
    <vt:lpwstr>1.3AMER</vt:lpwstr>
  </property>
  <property fmtid="{D5CDD505-2E9C-101B-9397-08002B2CF9AE}" pid="7" name="MSIP_Label_7de70ee2-0cb4-4d60-aee5-75ef2c4c8a90_Enabled">
    <vt:lpwstr>True</vt:lpwstr>
  </property>
  <property fmtid="{D5CDD505-2E9C-101B-9397-08002B2CF9AE}" pid="8" name="MSIP_Label_7de70ee2-0cb4-4d60-aee5-75ef2c4c8a90_SiteId">
    <vt:lpwstr>945c199a-83a2-4e80-9f8c-5a91be5752dd</vt:lpwstr>
  </property>
  <property fmtid="{D5CDD505-2E9C-101B-9397-08002B2CF9AE}" pid="9" name="MSIP_Label_7de70ee2-0cb4-4d60-aee5-75ef2c4c8a90_Owner">
    <vt:lpwstr>Katie_Adami@Dell.com</vt:lpwstr>
  </property>
  <property fmtid="{D5CDD505-2E9C-101B-9397-08002B2CF9AE}" pid="10" name="MSIP_Label_7de70ee2-0cb4-4d60-aee5-75ef2c4c8a90_SetDate">
    <vt:lpwstr>2019-06-12T16:51:29.9265285Z</vt:lpwstr>
  </property>
  <property fmtid="{D5CDD505-2E9C-101B-9397-08002B2CF9AE}" pid="11" name="MSIP_Label_7de70ee2-0cb4-4d60-aee5-75ef2c4c8a90_Name">
    <vt:lpwstr>Internal Use</vt:lpwstr>
  </property>
  <property fmtid="{D5CDD505-2E9C-101B-9397-08002B2CF9AE}" pid="12" name="MSIP_Label_7de70ee2-0cb4-4d60-aee5-75ef2c4c8a90_Application">
    <vt:lpwstr>Microsoft Azure Information Protection</vt:lpwstr>
  </property>
  <property fmtid="{D5CDD505-2E9C-101B-9397-08002B2CF9AE}" pid="13" name="MSIP_Label_7de70ee2-0cb4-4d60-aee5-75ef2c4c8a90_Extended_MSFT_Method">
    <vt:lpwstr>Manual</vt:lpwstr>
  </property>
  <property fmtid="{D5CDD505-2E9C-101B-9397-08002B2CF9AE}" pid="14" name="MSIP_Label_da6fab74-d5af-4af7-a9a4-78d84655a626_Enabled">
    <vt:lpwstr>True</vt:lpwstr>
  </property>
  <property fmtid="{D5CDD505-2E9C-101B-9397-08002B2CF9AE}" pid="15" name="MSIP_Label_da6fab74-d5af-4af7-a9a4-78d84655a626_SiteId">
    <vt:lpwstr>945c199a-83a2-4e80-9f8c-5a91be5752dd</vt:lpwstr>
  </property>
  <property fmtid="{D5CDD505-2E9C-101B-9397-08002B2CF9AE}" pid="16" name="MSIP_Label_da6fab74-d5af-4af7-a9a4-78d84655a626_Owner">
    <vt:lpwstr>Katie_Adami@Dell.com</vt:lpwstr>
  </property>
  <property fmtid="{D5CDD505-2E9C-101B-9397-08002B2CF9AE}" pid="17" name="MSIP_Label_da6fab74-d5af-4af7-a9a4-78d84655a626_SetDate">
    <vt:lpwstr>2019-06-12T16:51:29.9265285Z</vt:lpwstr>
  </property>
  <property fmtid="{D5CDD505-2E9C-101B-9397-08002B2CF9AE}" pid="18" name="MSIP_Label_da6fab74-d5af-4af7-a9a4-78d84655a626_Name">
    <vt:lpwstr>Visual Marking</vt:lpwstr>
  </property>
  <property fmtid="{D5CDD505-2E9C-101B-9397-08002B2CF9AE}" pid="19" name="MSIP_Label_da6fab74-d5af-4af7-a9a4-78d84655a626_Application">
    <vt:lpwstr>Microsoft Azure Information Protection</vt:lpwstr>
  </property>
  <property fmtid="{D5CDD505-2E9C-101B-9397-08002B2CF9AE}" pid="20" name="MSIP_Label_da6fab74-d5af-4af7-a9a4-78d84655a626_Parent">
    <vt:lpwstr>7de70ee2-0cb4-4d60-aee5-75ef2c4c8a90</vt:lpwstr>
  </property>
  <property fmtid="{D5CDD505-2E9C-101B-9397-08002B2CF9AE}" pid="21" name="MSIP_Label_da6fab74-d5af-4af7-a9a4-78d84655a626_Extended_MSFT_Method">
    <vt:lpwstr>Manual</vt:lpwstr>
  </property>
  <property fmtid="{D5CDD505-2E9C-101B-9397-08002B2CF9AE}" pid="22" name="aiplabel">
    <vt:lpwstr>Internal Use Visual Marking</vt:lpwstr>
  </property>
  <property fmtid="{D5CDD505-2E9C-101B-9397-08002B2CF9AE}" pid="23" name="ContentTypeId">
    <vt:lpwstr>0x0101007DB17E42820C2D4E90831AE2AEFD7F44</vt:lpwstr>
  </property>
</Properties>
</file>